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8" r:id="rId2"/>
  </p:sldMasterIdLst>
  <p:notesMasterIdLst>
    <p:notesMasterId r:id="rId10"/>
  </p:notesMasterIdLst>
  <p:handoutMasterIdLst>
    <p:handoutMasterId r:id="rId11"/>
  </p:handoutMasterIdLst>
  <p:sldIdLst>
    <p:sldId id="342" r:id="rId3"/>
    <p:sldId id="324" r:id="rId4"/>
    <p:sldId id="365" r:id="rId5"/>
    <p:sldId id="366" r:id="rId6"/>
    <p:sldId id="367" r:id="rId7"/>
    <p:sldId id="377" r:id="rId8"/>
    <p:sldId id="384" r:id="rId9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olina Ivanova Georgieva" initials="PIG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FE3E5"/>
    <a:srgbClr val="DBEEF4"/>
    <a:srgbClr val="FFFFFF"/>
    <a:srgbClr val="FFC5C5"/>
    <a:srgbClr val="FAF7B8"/>
    <a:srgbClr val="FFFF00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23" autoAdjust="0"/>
    <p:restoredTop sz="91429" autoAdjust="0"/>
  </p:normalViewPr>
  <p:slideViewPr>
    <p:cSldViewPr>
      <p:cViewPr varScale="1">
        <p:scale>
          <a:sx n="138" d="100"/>
          <a:sy n="138" d="100"/>
        </p:scale>
        <p:origin x="1068" y="120"/>
      </p:cViewPr>
      <p:guideLst>
        <p:guide orient="horz" pos="2160"/>
        <p:guide pos="2880"/>
        <p:guide orient="horz" pos="162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1" d="100"/>
          <a:sy n="81" d="100"/>
        </p:scale>
        <p:origin x="-4008" y="-102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C0261D-DEF0-4170-B6B3-C6DD91721ADA}" type="datetimeFigureOut">
              <a:rPr lang="bg-BG" smtClean="0"/>
              <a:t>26.08.2019</a:t>
            </a:fld>
            <a:endParaRPr lang="bg-B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7A7BCC-7A0B-4644-839B-B65A113C7ED0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8319493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5673EB-2D0F-4E95-9A7F-C231936AE8A4}" type="datetimeFigureOut">
              <a:rPr lang="bg-BG" smtClean="0"/>
              <a:t>26.08.2019</a:t>
            </a:fld>
            <a:endParaRPr lang="bg-B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bg-B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5711"/>
            <a:ext cx="5438775" cy="446651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bg-B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bg-B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54ED2D-9653-4078-A27B-9C755F6649CF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005224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8.e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8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8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0.xml"/><Relationship Id="rId7" Type="http://schemas.openxmlformats.org/officeDocument/2006/relationships/image" Target="../media/image10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2.xml"/><Relationship Id="rId7" Type="http://schemas.openxmlformats.org/officeDocument/2006/relationships/image" Target="../media/image11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8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8.xml"/><Relationship Id="rId7" Type="http://schemas.openxmlformats.org/officeDocument/2006/relationships/image" Target="../media/image14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8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8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8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0.xml"/><Relationship Id="rId7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8.e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1281112"/>
            <a:ext cx="8600155" cy="3013589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0000" y="323038"/>
            <a:ext cx="8600156" cy="303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717171"/>
                </a:solidFill>
              </a:rPr>
              <a:pPr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0" y="4795132"/>
            <a:ext cx="3503084" cy="148344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</p:spTree>
    <p:extLst>
      <p:ext uri="{BB962C8B-B14F-4D97-AF65-F5344CB8AC3E}">
        <p14:creationId xmlns:p14="http://schemas.microsoft.com/office/powerpoint/2010/main" val="23784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9" name="Inhaltsplatzhalter 3"/>
          <p:cNvSpPr>
            <a:spLocks noGrp="1"/>
          </p:cNvSpPr>
          <p:nvPr>
            <p:ph sz="half" idx="19" hasCustomPrompt="1"/>
          </p:nvPr>
        </p:nvSpPr>
        <p:spPr>
          <a:xfrm>
            <a:off x="4659602" y="1654969"/>
            <a:ext cx="4050001" cy="3034665"/>
          </a:xfrm>
          <a:ln w="9525">
            <a:solidFill>
              <a:srgbClr val="969696"/>
            </a:solidFill>
          </a:ln>
        </p:spPr>
        <p:txBody>
          <a:bodyPr lIns="88201" tIns="117602" rIns="88201" bIns="0">
            <a:noAutofit/>
          </a:bodyPr>
          <a:lstStyle>
            <a:lvl1pPr>
              <a:spcBef>
                <a:spcPts val="741"/>
              </a:spcBef>
              <a:defRPr sz="1000"/>
            </a:lvl1pPr>
            <a:lvl2pPr>
              <a:spcBef>
                <a:spcPts val="741"/>
              </a:spcBef>
              <a:defRPr sz="1000"/>
            </a:lvl2pPr>
            <a:lvl3pPr>
              <a:spcBef>
                <a:spcPts val="741"/>
              </a:spcBef>
              <a:defRPr sz="1000"/>
            </a:lvl3pPr>
            <a:lvl4pPr>
              <a:spcBef>
                <a:spcPts val="741"/>
              </a:spcBef>
              <a:defRPr sz="1000"/>
            </a:lvl4pPr>
            <a:lvl5pPr>
              <a:spcBef>
                <a:spcPts val="741"/>
              </a:spcBef>
              <a:defRPr sz="1000"/>
            </a:lvl5pPr>
            <a:lvl6pPr>
              <a:spcBef>
                <a:spcPts val="741"/>
              </a:spcBef>
              <a:defRPr sz="1000"/>
            </a:lvl6pPr>
            <a:lvl7pPr>
              <a:spcBef>
                <a:spcPts val="741"/>
              </a:spcBef>
              <a:defRPr sz="1000"/>
            </a:lvl7pPr>
            <a:lvl8pPr>
              <a:spcBef>
                <a:spcPts val="741"/>
              </a:spcBef>
              <a:defRPr sz="1000"/>
            </a:lvl8pPr>
            <a:lvl9pPr marL="797260" indent="0">
              <a:spcBef>
                <a:spcPts val="741"/>
              </a:spcBef>
              <a:buNone/>
              <a:defRPr sz="10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32000" y="1654969"/>
            <a:ext cx="4051300" cy="3034665"/>
          </a:xfrm>
          <a:ln w="9525">
            <a:solidFill>
              <a:srgbClr val="969696"/>
            </a:solidFill>
          </a:ln>
        </p:spPr>
        <p:txBody>
          <a:bodyPr lIns="88201" tIns="117602" rIns="88201" bIns="0">
            <a:noAutofit/>
          </a:bodyPr>
          <a:lstStyle>
            <a:lvl1pPr>
              <a:spcBef>
                <a:spcPts val="741"/>
              </a:spcBef>
              <a:defRPr sz="1000"/>
            </a:lvl1pPr>
            <a:lvl2pPr>
              <a:spcBef>
                <a:spcPts val="741"/>
              </a:spcBef>
              <a:defRPr sz="1000"/>
            </a:lvl2pPr>
            <a:lvl3pPr>
              <a:spcBef>
                <a:spcPts val="741"/>
              </a:spcBef>
              <a:defRPr sz="1000"/>
            </a:lvl3pPr>
            <a:lvl4pPr>
              <a:spcBef>
                <a:spcPts val="741"/>
              </a:spcBef>
              <a:defRPr sz="1000"/>
            </a:lvl4pPr>
            <a:lvl5pPr>
              <a:spcBef>
                <a:spcPts val="741"/>
              </a:spcBef>
              <a:defRPr sz="1000"/>
            </a:lvl5pPr>
            <a:lvl6pPr>
              <a:spcBef>
                <a:spcPts val="741"/>
              </a:spcBef>
              <a:defRPr sz="1000"/>
            </a:lvl6pPr>
            <a:lvl7pPr>
              <a:spcBef>
                <a:spcPts val="741"/>
              </a:spcBef>
              <a:defRPr sz="1000"/>
            </a:lvl7pPr>
            <a:lvl8pPr>
              <a:spcBef>
                <a:spcPts val="741"/>
              </a:spcBef>
              <a:defRPr sz="1000"/>
            </a:lvl8pPr>
            <a:lvl9pPr marL="797260" indent="0">
              <a:spcBef>
                <a:spcPts val="741"/>
              </a:spcBef>
              <a:buNone/>
              <a:defRPr sz="10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32002" y="1432919"/>
            <a:ext cx="4050001" cy="227409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Autofit/>
          </a:bodyPr>
          <a:lstStyle>
            <a:lvl1pPr algn="ctr">
              <a:defRPr sz="1000"/>
            </a:lvl1pPr>
          </a:lstStyle>
          <a:p>
            <a:pPr lvl="0"/>
            <a:r>
              <a:rPr lang="en-GB" noProof="0" dirty="0"/>
              <a:t>Your text</a:t>
            </a: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1034100"/>
            <a:ext cx="8281985" cy="2345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noProof="0" dirty="0"/>
              <a:t>Click here to add your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659602" y="1432919"/>
            <a:ext cx="4050001" cy="227409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Autofit/>
          </a:bodyPr>
          <a:lstStyle>
            <a:lvl1pPr algn="ctr">
              <a:defRPr sz="1000"/>
            </a:lvl1pPr>
          </a:lstStyle>
          <a:p>
            <a:pPr lvl="0"/>
            <a:r>
              <a:rPr lang="en-GB" noProof="0" dirty="0"/>
              <a:t>Your text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581024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9" name="Inhaltsplatzhalter 3"/>
          <p:cNvSpPr>
            <a:spLocks noGrp="1"/>
          </p:cNvSpPr>
          <p:nvPr>
            <p:ph sz="half" idx="21" hasCustomPrompt="1"/>
          </p:nvPr>
        </p:nvSpPr>
        <p:spPr>
          <a:xfrm>
            <a:off x="3250820" y="1655100"/>
            <a:ext cx="2649600" cy="3034800"/>
          </a:xfrm>
          <a:ln>
            <a:solidFill>
              <a:srgbClr val="969696"/>
            </a:solidFill>
          </a:ln>
        </p:spPr>
        <p:txBody>
          <a:bodyPr lIns="88201" tIns="117602" rIns="88201" bIns="0">
            <a:noAutofit/>
          </a:bodyPr>
          <a:lstStyle>
            <a:lvl1pPr>
              <a:spcBef>
                <a:spcPts val="741"/>
              </a:spcBef>
              <a:defRPr sz="1000"/>
            </a:lvl1pPr>
            <a:lvl2pPr>
              <a:spcBef>
                <a:spcPts val="741"/>
              </a:spcBef>
              <a:defRPr sz="1000"/>
            </a:lvl2pPr>
            <a:lvl3pPr>
              <a:spcBef>
                <a:spcPts val="741"/>
              </a:spcBef>
              <a:defRPr sz="1000"/>
            </a:lvl3pPr>
            <a:lvl4pPr>
              <a:spcBef>
                <a:spcPts val="741"/>
              </a:spcBef>
              <a:defRPr sz="1000"/>
            </a:lvl4pPr>
            <a:lvl5pPr>
              <a:spcBef>
                <a:spcPts val="741"/>
              </a:spcBef>
              <a:defRPr sz="1000"/>
            </a:lvl5pPr>
            <a:lvl6pPr>
              <a:spcBef>
                <a:spcPts val="741"/>
              </a:spcBef>
              <a:defRPr sz="1000"/>
            </a:lvl6pPr>
            <a:lvl7pPr>
              <a:spcBef>
                <a:spcPts val="741"/>
              </a:spcBef>
              <a:defRPr sz="1000"/>
            </a:lvl7pPr>
            <a:lvl8pPr>
              <a:spcBef>
                <a:spcPts val="741"/>
              </a:spcBef>
              <a:defRPr sz="1000"/>
            </a:lvl8pPr>
            <a:lvl9pPr>
              <a:spcBef>
                <a:spcPts val="741"/>
              </a:spcBef>
              <a:defRPr sz="10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20" name="Inhaltsplatzhalter 3"/>
          <p:cNvSpPr>
            <a:spLocks noGrp="1"/>
          </p:cNvSpPr>
          <p:nvPr>
            <p:ph sz="half" idx="22" hasCustomPrompt="1"/>
          </p:nvPr>
        </p:nvSpPr>
        <p:spPr>
          <a:xfrm>
            <a:off x="6067562" y="1655100"/>
            <a:ext cx="2649600" cy="3034800"/>
          </a:xfrm>
          <a:ln>
            <a:solidFill>
              <a:srgbClr val="969696"/>
            </a:solidFill>
          </a:ln>
        </p:spPr>
        <p:txBody>
          <a:bodyPr lIns="88201" tIns="117602" rIns="88201" bIns="0">
            <a:noAutofit/>
          </a:bodyPr>
          <a:lstStyle>
            <a:lvl1pPr>
              <a:spcBef>
                <a:spcPts val="741"/>
              </a:spcBef>
              <a:defRPr sz="1000"/>
            </a:lvl1pPr>
            <a:lvl2pPr>
              <a:spcBef>
                <a:spcPts val="741"/>
              </a:spcBef>
              <a:defRPr sz="1000"/>
            </a:lvl2pPr>
            <a:lvl3pPr>
              <a:spcBef>
                <a:spcPts val="741"/>
              </a:spcBef>
              <a:defRPr sz="1000"/>
            </a:lvl3pPr>
            <a:lvl4pPr>
              <a:spcBef>
                <a:spcPts val="741"/>
              </a:spcBef>
              <a:defRPr sz="1000"/>
            </a:lvl4pPr>
            <a:lvl5pPr>
              <a:spcBef>
                <a:spcPts val="741"/>
              </a:spcBef>
              <a:defRPr sz="1000"/>
            </a:lvl5pPr>
            <a:lvl6pPr>
              <a:spcBef>
                <a:spcPts val="741"/>
              </a:spcBef>
              <a:defRPr sz="1000"/>
            </a:lvl6pPr>
            <a:lvl7pPr>
              <a:spcBef>
                <a:spcPts val="741"/>
              </a:spcBef>
              <a:defRPr sz="1000"/>
            </a:lvl7pPr>
            <a:lvl8pPr>
              <a:spcBef>
                <a:spcPts val="741"/>
              </a:spcBef>
              <a:defRPr sz="1000"/>
            </a:lvl8pPr>
            <a:lvl9pPr>
              <a:spcBef>
                <a:spcPts val="741"/>
              </a:spcBef>
              <a:defRPr sz="10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32449" y="1655100"/>
            <a:ext cx="2649600" cy="3034800"/>
          </a:xfrm>
          <a:ln>
            <a:solidFill>
              <a:srgbClr val="969696"/>
            </a:solidFill>
          </a:ln>
        </p:spPr>
        <p:txBody>
          <a:bodyPr lIns="88201" tIns="117602" rIns="88201" bIns="0">
            <a:noAutofit/>
          </a:bodyPr>
          <a:lstStyle>
            <a:lvl1pPr>
              <a:spcBef>
                <a:spcPts val="741"/>
              </a:spcBef>
              <a:defRPr sz="1000"/>
            </a:lvl1pPr>
            <a:lvl2pPr>
              <a:spcBef>
                <a:spcPts val="741"/>
              </a:spcBef>
              <a:defRPr sz="1000"/>
            </a:lvl2pPr>
            <a:lvl3pPr>
              <a:spcBef>
                <a:spcPts val="741"/>
              </a:spcBef>
              <a:defRPr sz="1000"/>
            </a:lvl3pPr>
            <a:lvl4pPr>
              <a:spcBef>
                <a:spcPts val="741"/>
              </a:spcBef>
              <a:defRPr sz="1000"/>
            </a:lvl4pPr>
            <a:lvl5pPr>
              <a:spcBef>
                <a:spcPts val="741"/>
              </a:spcBef>
              <a:defRPr sz="1000"/>
            </a:lvl5pPr>
            <a:lvl6pPr>
              <a:spcBef>
                <a:spcPts val="741"/>
              </a:spcBef>
              <a:defRPr sz="1000"/>
            </a:lvl6pPr>
            <a:lvl7pPr>
              <a:spcBef>
                <a:spcPts val="741"/>
              </a:spcBef>
              <a:defRPr sz="1000"/>
            </a:lvl7pPr>
            <a:lvl8pPr>
              <a:spcBef>
                <a:spcPts val="741"/>
              </a:spcBef>
              <a:defRPr sz="1000"/>
            </a:lvl8pPr>
            <a:lvl9pPr>
              <a:spcBef>
                <a:spcPts val="741"/>
              </a:spcBef>
              <a:defRPr sz="10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32000" y="1432919"/>
            <a:ext cx="2649600" cy="227409"/>
          </a:xfrm>
          <a:solidFill>
            <a:srgbClr val="CDCDCD"/>
          </a:solidFill>
          <a:ln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000"/>
            </a:lvl1pPr>
          </a:lstStyle>
          <a:p>
            <a:pPr marL="0" marR="0" lvl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Your text</a:t>
            </a: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1034100"/>
            <a:ext cx="8281985" cy="234554"/>
          </a:xfrm>
        </p:spPr>
        <p:txBody>
          <a:bodyPr/>
          <a:lstStyle/>
          <a:p>
            <a:pPr lvl="0"/>
            <a:r>
              <a:rPr lang="en-GB" noProof="0" dirty="0"/>
              <a:t>Click here to add your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26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3250820" y="1432919"/>
            <a:ext cx="2649600" cy="227409"/>
          </a:xfrm>
          <a:solidFill>
            <a:srgbClr val="CDCDCD"/>
          </a:solidFill>
          <a:ln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algn="ctr">
              <a:defRPr sz="1000"/>
            </a:lvl1pPr>
          </a:lstStyle>
          <a:p>
            <a:pPr lvl="0"/>
            <a:r>
              <a:rPr lang="en-GB" noProof="0" dirty="0"/>
              <a:t>Your text</a:t>
            </a:r>
          </a:p>
        </p:txBody>
      </p:sp>
      <p:sp>
        <p:nvSpPr>
          <p:cNvPr id="28" name="Textplatzhalt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6067562" y="1432919"/>
            <a:ext cx="2649600" cy="227409"/>
          </a:xfrm>
          <a:solidFill>
            <a:srgbClr val="CDCDCD"/>
          </a:solidFill>
          <a:ln>
            <a:solidFill>
              <a:srgbClr val="969696"/>
            </a:solidFill>
          </a:ln>
        </p:spPr>
        <p:txBody>
          <a:bodyPr anchor="ctr" anchorCtr="0">
            <a:noAutofit/>
          </a:bodyPr>
          <a:lstStyle>
            <a:lvl1pPr algn="ctr">
              <a:defRPr sz="1000"/>
            </a:lvl1pPr>
          </a:lstStyle>
          <a:p>
            <a:pPr lvl="0"/>
            <a:r>
              <a:rPr lang="en-GB" noProof="0" dirty="0"/>
              <a:t>Your text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478351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7" name="Textplatzhalter 9"/>
          <p:cNvSpPr>
            <a:spLocks noGrp="1"/>
          </p:cNvSpPr>
          <p:nvPr>
            <p:ph type="body" sz="quarter" idx="26" hasCustomPrompt="1"/>
          </p:nvPr>
        </p:nvSpPr>
        <p:spPr>
          <a:xfrm>
            <a:off x="2413002" y="3896323"/>
            <a:ext cx="6300788" cy="684609"/>
          </a:xfrm>
          <a:ln>
            <a:solidFill>
              <a:srgbClr val="969696"/>
            </a:solidFill>
          </a:ln>
        </p:spPr>
        <p:txBody>
          <a:bodyPr lIns="88201" tIns="0" anchor="ctr" anchorCtr="0">
            <a:noAutofit/>
          </a:bodyPr>
          <a:lstStyle>
            <a:lvl1pPr marL="135229" indent="-135229">
              <a:spcBef>
                <a:spcPts val="223"/>
              </a:spcBef>
              <a:buFont typeface="Wingdings" pitchFamily="2" charset="2"/>
              <a:buChar char="§"/>
              <a:defRPr sz="1200" b="0"/>
            </a:lvl1pPr>
            <a:lvl2pPr marL="268105" indent="-134053">
              <a:spcBef>
                <a:spcPts val="223"/>
              </a:spcBef>
              <a:buFont typeface="Wingdings" pitchFamily="2" charset="2"/>
              <a:buChar char="§"/>
              <a:defRPr sz="1200"/>
            </a:lvl2pPr>
            <a:lvl3pPr marL="402158" indent="-134053">
              <a:spcBef>
                <a:spcPts val="223"/>
              </a:spcBef>
              <a:buFont typeface="Wingdings" pitchFamily="2" charset="2"/>
              <a:buChar char="§"/>
              <a:defRPr sz="1200"/>
            </a:lvl3pPr>
          </a:lstStyle>
          <a:p>
            <a:pPr lvl="0"/>
            <a:r>
              <a:rPr lang="en-GB" noProof="0" dirty="0"/>
              <a:t>Click here to add your own text</a:t>
            </a:r>
          </a:p>
        </p:txBody>
      </p:sp>
      <p:sp>
        <p:nvSpPr>
          <p:cNvPr id="24" name="Textplatzhalter 9"/>
          <p:cNvSpPr>
            <a:spLocks noGrp="1"/>
          </p:cNvSpPr>
          <p:nvPr>
            <p:ph type="body" sz="quarter" idx="25" hasCustomPrompt="1"/>
          </p:nvPr>
        </p:nvSpPr>
        <p:spPr>
          <a:xfrm>
            <a:off x="2413002" y="3081934"/>
            <a:ext cx="6300788" cy="684609"/>
          </a:xfrm>
          <a:ln>
            <a:solidFill>
              <a:srgbClr val="969696"/>
            </a:solidFill>
          </a:ln>
        </p:spPr>
        <p:txBody>
          <a:bodyPr lIns="88201" tIns="0" anchor="ctr" anchorCtr="0">
            <a:noAutofit/>
          </a:bodyPr>
          <a:lstStyle>
            <a:lvl1pPr marL="135229" indent="-135229">
              <a:spcBef>
                <a:spcPts val="223"/>
              </a:spcBef>
              <a:buFont typeface="Wingdings" pitchFamily="2" charset="2"/>
              <a:buChar char="§"/>
              <a:defRPr sz="1200" b="0"/>
            </a:lvl1pPr>
            <a:lvl2pPr marL="268105" indent="-134053">
              <a:spcBef>
                <a:spcPts val="223"/>
              </a:spcBef>
              <a:buFont typeface="Wingdings" pitchFamily="2" charset="2"/>
              <a:buChar char="§"/>
              <a:defRPr sz="1200"/>
            </a:lvl2pPr>
            <a:lvl3pPr marL="402158" indent="-134053">
              <a:spcBef>
                <a:spcPts val="223"/>
              </a:spcBef>
              <a:buFont typeface="Wingdings" pitchFamily="2" charset="2"/>
              <a:buChar char="§"/>
              <a:defRPr sz="1200"/>
            </a:lvl3pPr>
          </a:lstStyle>
          <a:p>
            <a:pPr lvl="0"/>
            <a:r>
              <a:rPr lang="en-GB" noProof="0" dirty="0"/>
              <a:t>Click here to add your own text</a:t>
            </a:r>
          </a:p>
        </p:txBody>
      </p:sp>
      <p:sp>
        <p:nvSpPr>
          <p:cNvPr id="21" name="Textplatzhalter 9"/>
          <p:cNvSpPr>
            <a:spLocks noGrp="1"/>
          </p:cNvSpPr>
          <p:nvPr>
            <p:ph type="body" sz="quarter" idx="24" hasCustomPrompt="1"/>
          </p:nvPr>
        </p:nvSpPr>
        <p:spPr>
          <a:xfrm>
            <a:off x="2413002" y="2258499"/>
            <a:ext cx="6300788" cy="684609"/>
          </a:xfrm>
          <a:ln>
            <a:solidFill>
              <a:srgbClr val="969696"/>
            </a:solidFill>
          </a:ln>
        </p:spPr>
        <p:txBody>
          <a:bodyPr lIns="88201" tIns="0" anchor="ctr" anchorCtr="0">
            <a:noAutofit/>
          </a:bodyPr>
          <a:lstStyle>
            <a:lvl1pPr marL="135229" indent="-135229">
              <a:spcBef>
                <a:spcPts val="223"/>
              </a:spcBef>
              <a:buFont typeface="Wingdings" pitchFamily="2" charset="2"/>
              <a:buChar char="§"/>
              <a:defRPr sz="1200" b="0"/>
            </a:lvl1pPr>
            <a:lvl2pPr marL="268105" indent="-134053">
              <a:spcBef>
                <a:spcPts val="223"/>
              </a:spcBef>
              <a:buFont typeface="Wingdings" pitchFamily="2" charset="2"/>
              <a:buChar char="§"/>
              <a:defRPr sz="1200"/>
            </a:lvl2pPr>
            <a:lvl3pPr marL="402158" indent="-134053">
              <a:spcBef>
                <a:spcPts val="223"/>
              </a:spcBef>
              <a:buFont typeface="Wingdings" pitchFamily="2" charset="2"/>
              <a:buChar char="§"/>
              <a:defRPr sz="1200"/>
            </a:lvl3pPr>
          </a:lstStyle>
          <a:p>
            <a:pPr lvl="0"/>
            <a:r>
              <a:rPr lang="en-GB" noProof="0" dirty="0"/>
              <a:t>Click here to add your own text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7" hasCustomPrompt="1"/>
          </p:nvPr>
        </p:nvSpPr>
        <p:spPr>
          <a:xfrm>
            <a:off x="2413002" y="1433991"/>
            <a:ext cx="6300788" cy="684609"/>
          </a:xfrm>
          <a:ln>
            <a:solidFill>
              <a:srgbClr val="969696"/>
            </a:solidFill>
          </a:ln>
        </p:spPr>
        <p:txBody>
          <a:bodyPr lIns="88201" tIns="0" anchor="ctr" anchorCtr="0">
            <a:noAutofit/>
          </a:bodyPr>
          <a:lstStyle>
            <a:lvl1pPr marL="135229" indent="-135229">
              <a:spcBef>
                <a:spcPts val="223"/>
              </a:spcBef>
              <a:buFont typeface="Wingdings" pitchFamily="2" charset="2"/>
              <a:buChar char="§"/>
              <a:defRPr sz="1200" b="0" baseline="0"/>
            </a:lvl1pPr>
            <a:lvl2pPr marL="268105" indent="-134053">
              <a:spcBef>
                <a:spcPts val="223"/>
              </a:spcBef>
              <a:buFont typeface="Wingdings" pitchFamily="2" charset="2"/>
              <a:buChar char="§"/>
              <a:defRPr sz="1200"/>
            </a:lvl2pPr>
            <a:lvl3pPr marL="402158" indent="-134053">
              <a:spcBef>
                <a:spcPts val="223"/>
              </a:spcBef>
              <a:buFont typeface="Wingdings" pitchFamily="2" charset="2"/>
              <a:buChar char="§"/>
              <a:defRPr sz="1200"/>
            </a:lvl3pPr>
          </a:lstStyle>
          <a:p>
            <a:pPr lvl="0"/>
            <a:r>
              <a:rPr lang="en-GB" noProof="0" dirty="0"/>
              <a:t>Click here to add your own text</a:t>
            </a:r>
          </a:p>
        </p:txBody>
      </p:sp>
      <p:sp>
        <p:nvSpPr>
          <p:cNvPr id="8" name="Rechteck 7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1034100"/>
            <a:ext cx="8281985" cy="234554"/>
          </a:xfrm>
        </p:spPr>
        <p:txBody>
          <a:bodyPr/>
          <a:lstStyle/>
          <a:p>
            <a:pPr lvl="0"/>
            <a:r>
              <a:rPr lang="en-GB" noProof="0" dirty="0"/>
              <a:t>Click here to add your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16" name="Textplatzhalt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32001" y="1433876"/>
            <a:ext cx="1994400" cy="684727"/>
          </a:xfrm>
          <a:solidFill>
            <a:srgbClr val="FFFF00"/>
          </a:solidFill>
          <a:ln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pPr marL="0" marR="0" lvl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Your text</a:t>
            </a:r>
          </a:p>
        </p:txBody>
      </p:sp>
      <p:sp>
        <p:nvSpPr>
          <p:cNvPr id="20" name="Textplatzhalt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32001" y="2257308"/>
            <a:ext cx="1994400" cy="685800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pPr marL="0" marR="0" lvl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Your text</a:t>
            </a:r>
          </a:p>
        </p:txBody>
      </p:sp>
      <p:sp>
        <p:nvSpPr>
          <p:cNvPr id="22" name="Textplatzhalt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432001" y="3080742"/>
            <a:ext cx="1994400" cy="685800"/>
          </a:xfrm>
          <a:solidFill>
            <a:srgbClr val="FFFF00"/>
          </a:solidFill>
          <a:ln w="9525"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pPr marL="0" marR="0" lvl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Your text</a:t>
            </a:r>
          </a:p>
        </p:txBody>
      </p:sp>
      <p:sp>
        <p:nvSpPr>
          <p:cNvPr id="29" name="Textplatzhalt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32001" y="3895132"/>
            <a:ext cx="1994400" cy="685800"/>
          </a:xfrm>
          <a:solidFill>
            <a:srgbClr val="CDCDCD"/>
          </a:solidFill>
          <a:ln w="9525">
            <a:solidFill>
              <a:srgbClr val="969696"/>
            </a:solidFill>
          </a:ln>
        </p:spPr>
        <p:txBody>
          <a:bodyPr anchor="ctr" anchorCtr="0">
            <a:normAutofit/>
          </a:bodyPr>
          <a:lstStyle>
            <a:lvl1pPr marL="0" marR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/>
            </a:lvl1pPr>
          </a:lstStyle>
          <a:p>
            <a:pPr marL="0" marR="0" lvl="0" indent="0" algn="ctr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Your text</a:t>
            </a:r>
          </a:p>
        </p:txBody>
      </p:sp>
      <p:pic>
        <p:nvPicPr>
          <p:cNvPr id="23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015509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1026" name="Picture 2" descr="C:\Users\Ziran.X\Desktop\Unbenannt-1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563" y="1429943"/>
            <a:ext cx="2700338" cy="3255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1034100"/>
            <a:ext cx="8281985" cy="234554"/>
          </a:xfrm>
        </p:spPr>
        <p:txBody>
          <a:bodyPr/>
          <a:lstStyle/>
          <a:p>
            <a:pPr lvl="0"/>
            <a:r>
              <a:rPr lang="en-GB" noProof="0" dirty="0"/>
              <a:t>Click here to add your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8" hasCustomPrompt="1"/>
          </p:nvPr>
        </p:nvSpPr>
        <p:spPr>
          <a:xfrm>
            <a:off x="6227902" y="1429941"/>
            <a:ext cx="2699999" cy="3261600"/>
          </a:xfr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9" hasCustomPrompt="1"/>
          </p:nvPr>
        </p:nvSpPr>
        <p:spPr>
          <a:xfrm>
            <a:off x="431801" y="1429941"/>
            <a:ext cx="5619752" cy="3261122"/>
          </a:xfrm>
        </p:spPr>
        <p:txBody>
          <a:bodyPr>
            <a:noAutofit/>
          </a:bodyPr>
          <a:lstStyle>
            <a:lvl1pPr>
              <a:spcBef>
                <a:spcPts val="741"/>
              </a:spcBef>
              <a:defRPr sz="1200"/>
            </a:lvl1pPr>
            <a:lvl2pPr>
              <a:spcBef>
                <a:spcPts val="741"/>
              </a:spcBef>
              <a:defRPr sz="1200"/>
            </a:lvl2pPr>
            <a:lvl3pPr>
              <a:spcBef>
                <a:spcPts val="741"/>
              </a:spcBef>
              <a:defRPr sz="1200"/>
            </a:lvl3pPr>
            <a:lvl4pPr>
              <a:spcBef>
                <a:spcPts val="741"/>
              </a:spcBef>
              <a:defRPr sz="1200" baseline="0"/>
            </a:lvl4pPr>
            <a:lvl5pPr>
              <a:spcBef>
                <a:spcPts val="741"/>
              </a:spcBef>
              <a:defRPr sz="1200" baseline="0"/>
            </a:lvl5pPr>
            <a:lvl6pPr>
              <a:spcBef>
                <a:spcPts val="741"/>
              </a:spcBef>
              <a:defRPr sz="1200"/>
            </a:lvl6pPr>
            <a:lvl7pPr>
              <a:spcBef>
                <a:spcPts val="741"/>
              </a:spcBef>
              <a:defRPr sz="1200"/>
            </a:lvl7pPr>
            <a:lvl8pPr>
              <a:spcBef>
                <a:spcPts val="741"/>
              </a:spcBef>
              <a:defRPr sz="1200"/>
            </a:lvl8pPr>
            <a:lvl9pPr>
              <a:spcBef>
                <a:spcPts val="741"/>
              </a:spcBef>
              <a:defRPr sz="12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61653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1027" name="Picture 3" descr="\\NAS\INSCALE_aktuelle_Projekte\RB International - Raiffeisen\13-0218_Master_PPT_Userguide_Nagy\neue Dateien\Material\Platzhalter_klein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15899" y="3125097"/>
            <a:ext cx="2696803" cy="156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\\NAS\INSCALE_aktuelle_Projekte\RB International - Raiffeisen\13-0218_Master_PPT_Userguide_Nagy\neue Dateien\Material\Platzhalter_klein.jp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0" y="1422432"/>
            <a:ext cx="2700338" cy="15680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5" name="Gerade Verbindung 14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</p:nvPr>
        </p:nvSpPr>
        <p:spPr>
          <a:xfrm>
            <a:off x="431801" y="1034100"/>
            <a:ext cx="8281985" cy="234554"/>
          </a:xfrm>
        </p:spPr>
        <p:txBody>
          <a:bodyPr/>
          <a:lstStyle>
            <a:lvl1pPr marL="0" marR="0" indent="0" algn="l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lvl1pPr>
          </a:lstStyle>
          <a:p>
            <a:pPr marL="0" marR="0" lvl="0" indent="0" algn="l" defTabSz="677318" rtl="0" eaLnBrk="1" fontAlgn="auto" latinLnBrk="0" hangingPunct="1">
              <a:lnSpc>
                <a:spcPct val="100000"/>
              </a:lnSpc>
              <a:spcBef>
                <a:spcPts val="1334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GB" noProof="0" dirty="0"/>
              <a:t>Click here to add your </a:t>
            </a:r>
            <a:r>
              <a:rPr lang="en-GB" noProof="0" dirty="0" err="1"/>
              <a:t>subheadline</a:t>
            </a:r>
            <a:endParaRPr lang="en-GB" noProof="0" dirty="0"/>
          </a:p>
        </p:txBody>
      </p:sp>
      <p:sp>
        <p:nvSpPr>
          <p:cNvPr id="16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094036" y="1424132"/>
            <a:ext cx="5619752" cy="1565966"/>
          </a:xfrm>
        </p:spPr>
        <p:txBody>
          <a:bodyPr>
            <a:noAutofit/>
          </a:bodyPr>
          <a:lstStyle>
            <a:lvl1pPr>
              <a:spcBef>
                <a:spcPts val="741"/>
              </a:spcBef>
              <a:defRPr sz="1200"/>
            </a:lvl1pPr>
            <a:lvl2pPr>
              <a:spcBef>
                <a:spcPts val="741"/>
              </a:spcBef>
              <a:defRPr sz="1200"/>
            </a:lvl2pPr>
            <a:lvl3pPr>
              <a:spcBef>
                <a:spcPts val="741"/>
              </a:spcBef>
              <a:defRPr sz="1200"/>
            </a:lvl3pPr>
            <a:lvl4pPr>
              <a:spcBef>
                <a:spcPts val="741"/>
              </a:spcBef>
              <a:defRPr sz="1200"/>
            </a:lvl4pPr>
            <a:lvl5pPr>
              <a:spcBef>
                <a:spcPts val="741"/>
              </a:spcBef>
              <a:defRPr sz="1200"/>
            </a:lvl5pPr>
            <a:lvl6pPr>
              <a:spcBef>
                <a:spcPts val="741"/>
              </a:spcBef>
              <a:defRPr sz="1200"/>
            </a:lvl6pPr>
            <a:lvl7pPr>
              <a:spcBef>
                <a:spcPts val="741"/>
              </a:spcBef>
              <a:defRPr sz="1200"/>
            </a:lvl7pPr>
            <a:lvl8pPr>
              <a:spcBef>
                <a:spcPts val="741"/>
              </a:spcBef>
              <a:defRPr sz="1200"/>
            </a:lvl8pPr>
            <a:lvl9pPr>
              <a:spcBef>
                <a:spcPts val="741"/>
              </a:spcBef>
              <a:defRPr sz="12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21" hasCustomPrompt="1"/>
          </p:nvPr>
        </p:nvSpPr>
        <p:spPr>
          <a:xfrm>
            <a:off x="215902" y="1424132"/>
            <a:ext cx="2698750" cy="1565672"/>
          </a:xfrm>
        </p:spPr>
        <p:txBody>
          <a:bodyPr lIns="161702">
            <a:normAutofit/>
          </a:bodyPr>
          <a:lstStyle>
            <a:lvl1pPr>
              <a:defRPr sz="1200"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19" name="Bildplatzhalter 11"/>
          <p:cNvSpPr>
            <a:spLocks noGrp="1"/>
          </p:cNvSpPr>
          <p:nvPr>
            <p:ph type="pic" sz="quarter" idx="22" hasCustomPrompt="1"/>
          </p:nvPr>
        </p:nvSpPr>
        <p:spPr>
          <a:xfrm>
            <a:off x="215902" y="3125099"/>
            <a:ext cx="2698750" cy="1565672"/>
          </a:xfrm>
        </p:spPr>
        <p:txBody>
          <a:bodyPr lIns="161702">
            <a:normAutofit/>
          </a:bodyPr>
          <a:lstStyle>
            <a:lvl1pPr>
              <a:defRPr sz="1200"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23" hasCustomPrompt="1"/>
          </p:nvPr>
        </p:nvSpPr>
        <p:spPr>
          <a:xfrm>
            <a:off x="3094036" y="3124805"/>
            <a:ext cx="5619752" cy="1565966"/>
          </a:xfrm>
        </p:spPr>
        <p:txBody>
          <a:bodyPr>
            <a:noAutofit/>
          </a:bodyPr>
          <a:lstStyle>
            <a:lvl1pPr>
              <a:spcBef>
                <a:spcPts val="741"/>
              </a:spcBef>
              <a:defRPr sz="1200"/>
            </a:lvl1pPr>
            <a:lvl2pPr>
              <a:spcBef>
                <a:spcPts val="741"/>
              </a:spcBef>
              <a:defRPr sz="1200"/>
            </a:lvl2pPr>
            <a:lvl3pPr>
              <a:spcBef>
                <a:spcPts val="741"/>
              </a:spcBef>
              <a:defRPr sz="1200"/>
            </a:lvl3pPr>
            <a:lvl4pPr>
              <a:spcBef>
                <a:spcPts val="741"/>
              </a:spcBef>
              <a:defRPr sz="1200"/>
            </a:lvl4pPr>
            <a:lvl5pPr>
              <a:spcBef>
                <a:spcPts val="741"/>
              </a:spcBef>
              <a:defRPr sz="1200"/>
            </a:lvl5pPr>
            <a:lvl6pPr>
              <a:spcBef>
                <a:spcPts val="741"/>
              </a:spcBef>
              <a:defRPr sz="1200"/>
            </a:lvl6pPr>
            <a:lvl7pPr>
              <a:spcBef>
                <a:spcPts val="741"/>
              </a:spcBef>
              <a:defRPr sz="1200"/>
            </a:lvl7pPr>
            <a:lvl8pPr>
              <a:spcBef>
                <a:spcPts val="741"/>
              </a:spcBef>
              <a:defRPr sz="1200"/>
            </a:lvl8pPr>
            <a:lvl9pPr>
              <a:spcBef>
                <a:spcPts val="741"/>
              </a:spcBef>
              <a:defRPr sz="1200"/>
            </a:lvl9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24743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9" y="1081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0954" tIns="35477" rIns="70954" bIns="35477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431802" y="161925"/>
            <a:ext cx="6145312" cy="59400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here to add your title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93" t="-19482" r="-3335" b="-20327"/>
          <a:stretch/>
        </p:blipFill>
        <p:spPr bwMode="auto">
          <a:xfrm>
            <a:off x="6803702" y="276452"/>
            <a:ext cx="1971063" cy="3671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3854317" y="4881562"/>
            <a:ext cx="143359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5901" y="4881562"/>
            <a:ext cx="363934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5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288756" y="4881562"/>
            <a:ext cx="3640932" cy="261938"/>
          </a:xfrm>
        </p:spPr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215900" y="4817269"/>
            <a:ext cx="8713788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2708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>
          <a:xfrm>
            <a:off x="3854317" y="4881562"/>
            <a:ext cx="143359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5901" y="4881562"/>
            <a:ext cx="363934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288756" y="4881562"/>
            <a:ext cx="3640932" cy="261938"/>
          </a:xfrm>
        </p:spPr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5722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aster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" name="Rechteck 1"/>
          <p:cNvSpPr/>
          <p:nvPr userDrawn="1"/>
        </p:nvSpPr>
        <p:spPr>
          <a:xfrm>
            <a:off x="-633046" y="315791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15</a:t>
            </a: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-304799" y="371474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eck 10"/>
          <p:cNvSpPr/>
          <p:nvPr userDrawn="1"/>
        </p:nvSpPr>
        <p:spPr>
          <a:xfrm>
            <a:off x="-633046" y="106242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92</a:t>
            </a: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-304799" y="16192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/>
          <p:cNvSpPr/>
          <p:nvPr userDrawn="1"/>
        </p:nvSpPr>
        <p:spPr>
          <a:xfrm>
            <a:off x="-633046" y="978972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5,69</a:t>
            </a:r>
          </a:p>
        </p:txBody>
      </p:sp>
      <p:cxnSp>
        <p:nvCxnSpPr>
          <p:cNvPr id="14" name="Gerade Verbindung 13"/>
          <p:cNvCxnSpPr/>
          <p:nvPr userDrawn="1"/>
        </p:nvCxnSpPr>
        <p:spPr>
          <a:xfrm>
            <a:off x="-304799" y="1034654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hteck 14"/>
          <p:cNvSpPr/>
          <p:nvPr userDrawn="1"/>
        </p:nvSpPr>
        <p:spPr>
          <a:xfrm>
            <a:off x="-633046" y="4698956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32</a:t>
            </a:r>
          </a:p>
        </p:txBody>
      </p:sp>
      <p:cxnSp>
        <p:nvCxnSpPr>
          <p:cNvPr id="16" name="Gerade Verbindung 15"/>
          <p:cNvCxnSpPr/>
          <p:nvPr userDrawn="1"/>
        </p:nvCxnSpPr>
        <p:spPr>
          <a:xfrm>
            <a:off x="-304799" y="481131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 userDrawn="1"/>
        </p:nvCxnSpPr>
        <p:spPr>
          <a:xfrm>
            <a:off x="9245602" y="371474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>
          <a:xfrm>
            <a:off x="9245602" y="16192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9245602" y="1034654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 userDrawn="1"/>
        </p:nvCxnSpPr>
        <p:spPr>
          <a:xfrm>
            <a:off x="9245602" y="481131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/>
          <p:cNvSpPr/>
          <p:nvPr userDrawn="1"/>
        </p:nvSpPr>
        <p:spPr>
          <a:xfrm>
            <a:off x="9448799" y="315791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15</a:t>
            </a:r>
          </a:p>
        </p:txBody>
      </p:sp>
      <p:sp>
        <p:nvSpPr>
          <p:cNvPr id="22" name="Rechteck 21"/>
          <p:cNvSpPr/>
          <p:nvPr userDrawn="1"/>
        </p:nvSpPr>
        <p:spPr>
          <a:xfrm>
            <a:off x="9448799" y="106242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92</a:t>
            </a:r>
          </a:p>
        </p:txBody>
      </p:sp>
      <p:sp>
        <p:nvSpPr>
          <p:cNvPr id="23" name="Rechteck 22"/>
          <p:cNvSpPr/>
          <p:nvPr userDrawn="1"/>
        </p:nvSpPr>
        <p:spPr>
          <a:xfrm>
            <a:off x="9448799" y="978972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5,69</a:t>
            </a:r>
          </a:p>
        </p:txBody>
      </p:sp>
      <p:sp>
        <p:nvSpPr>
          <p:cNvPr id="24" name="Rechteck 23"/>
          <p:cNvSpPr/>
          <p:nvPr userDrawn="1"/>
        </p:nvSpPr>
        <p:spPr>
          <a:xfrm>
            <a:off x="9448799" y="4698956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32</a:t>
            </a:r>
          </a:p>
        </p:txBody>
      </p:sp>
      <p:cxnSp>
        <p:nvCxnSpPr>
          <p:cNvPr id="25" name="Gerade Verbindung 24"/>
          <p:cNvCxnSpPr/>
          <p:nvPr userDrawn="1"/>
        </p:nvCxnSpPr>
        <p:spPr>
          <a:xfrm rot="16200000">
            <a:off x="130177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 rot="16200000">
            <a:off x="342901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 userDrawn="1"/>
        </p:nvCxnSpPr>
        <p:spPr>
          <a:xfrm rot="16200000">
            <a:off x="8637590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 userDrawn="1"/>
        </p:nvCxnSpPr>
        <p:spPr>
          <a:xfrm rot="16200000">
            <a:off x="8850114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hteck 28"/>
          <p:cNvSpPr/>
          <p:nvPr userDrawn="1"/>
        </p:nvSpPr>
        <p:spPr>
          <a:xfrm>
            <a:off x="-116499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2,10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419100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1,50</a:t>
            </a:r>
          </a:p>
        </p:txBody>
      </p:sp>
      <p:sp>
        <p:nvSpPr>
          <p:cNvPr id="31" name="Rechteck 30"/>
          <p:cNvSpPr/>
          <p:nvPr userDrawn="1"/>
        </p:nvSpPr>
        <p:spPr>
          <a:xfrm>
            <a:off x="8926312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2,10</a:t>
            </a:r>
          </a:p>
        </p:txBody>
      </p:sp>
      <p:sp>
        <p:nvSpPr>
          <p:cNvPr id="32" name="Rechteck 31"/>
          <p:cNvSpPr/>
          <p:nvPr userDrawn="1"/>
        </p:nvSpPr>
        <p:spPr>
          <a:xfrm>
            <a:off x="8385542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1,50</a:t>
            </a:r>
          </a:p>
        </p:txBody>
      </p:sp>
      <p:cxnSp>
        <p:nvCxnSpPr>
          <p:cNvPr id="33" name="Gerade Verbindung 32"/>
          <p:cNvCxnSpPr/>
          <p:nvPr userDrawn="1"/>
        </p:nvCxnSpPr>
        <p:spPr>
          <a:xfrm rot="16200000">
            <a:off x="130177" y="5303045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 userDrawn="1"/>
        </p:nvCxnSpPr>
        <p:spPr>
          <a:xfrm rot="16200000">
            <a:off x="342901" y="5303045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 userDrawn="1"/>
        </p:nvCxnSpPr>
        <p:spPr>
          <a:xfrm rot="16200000">
            <a:off x="8637590" y="5303045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/>
          <p:nvPr userDrawn="1"/>
        </p:nvCxnSpPr>
        <p:spPr>
          <a:xfrm rot="16200000">
            <a:off x="8850114" y="5303045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hteck 36"/>
          <p:cNvSpPr/>
          <p:nvPr userDrawn="1"/>
        </p:nvSpPr>
        <p:spPr>
          <a:xfrm>
            <a:off x="-116499" y="5379247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2,10</a:t>
            </a:r>
          </a:p>
        </p:txBody>
      </p:sp>
      <p:sp>
        <p:nvSpPr>
          <p:cNvPr id="38" name="Rechteck 37"/>
          <p:cNvSpPr/>
          <p:nvPr userDrawn="1"/>
        </p:nvSpPr>
        <p:spPr>
          <a:xfrm>
            <a:off x="419100" y="5379247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1,50</a:t>
            </a:r>
          </a:p>
        </p:txBody>
      </p:sp>
      <p:sp>
        <p:nvSpPr>
          <p:cNvPr id="39" name="Rechteck 38"/>
          <p:cNvSpPr/>
          <p:nvPr userDrawn="1"/>
        </p:nvSpPr>
        <p:spPr>
          <a:xfrm>
            <a:off x="8926312" y="5379247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2,10</a:t>
            </a:r>
          </a:p>
        </p:txBody>
      </p:sp>
      <p:sp>
        <p:nvSpPr>
          <p:cNvPr id="40" name="Rechteck 39"/>
          <p:cNvSpPr/>
          <p:nvPr userDrawn="1"/>
        </p:nvSpPr>
        <p:spPr>
          <a:xfrm>
            <a:off x="8385542" y="5379247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11,50</a:t>
            </a:r>
          </a:p>
        </p:txBody>
      </p:sp>
      <p:cxnSp>
        <p:nvCxnSpPr>
          <p:cNvPr id="41" name="Gerade Verbindung 40"/>
          <p:cNvCxnSpPr/>
          <p:nvPr userDrawn="1"/>
        </p:nvCxnSpPr>
        <p:spPr>
          <a:xfrm rot="16200000">
            <a:off x="4571020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 userDrawn="1"/>
        </p:nvCxnSpPr>
        <p:spPr>
          <a:xfrm rot="16200000">
            <a:off x="4403965" y="-176212"/>
            <a:ext cx="1524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hteck 42"/>
          <p:cNvSpPr/>
          <p:nvPr userDrawn="1"/>
        </p:nvSpPr>
        <p:spPr>
          <a:xfrm>
            <a:off x="4660900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0,25</a:t>
            </a:r>
          </a:p>
        </p:txBody>
      </p:sp>
      <p:sp>
        <p:nvSpPr>
          <p:cNvPr id="44" name="Rechteck 43"/>
          <p:cNvSpPr/>
          <p:nvPr userDrawn="1"/>
        </p:nvSpPr>
        <p:spPr>
          <a:xfrm>
            <a:off x="4151917" y="-357553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0,25</a:t>
            </a:r>
          </a:p>
        </p:txBody>
      </p:sp>
      <p:sp>
        <p:nvSpPr>
          <p:cNvPr id="45" name="Rechteck 44"/>
          <p:cNvSpPr/>
          <p:nvPr userDrawn="1"/>
        </p:nvSpPr>
        <p:spPr>
          <a:xfrm>
            <a:off x="-633046" y="4839075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55</a:t>
            </a:r>
          </a:p>
        </p:txBody>
      </p:sp>
      <p:sp>
        <p:nvSpPr>
          <p:cNvPr id="46" name="Rechteck 45"/>
          <p:cNvSpPr/>
          <p:nvPr userDrawn="1"/>
        </p:nvSpPr>
        <p:spPr>
          <a:xfrm>
            <a:off x="9448799" y="4846219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55</a:t>
            </a:r>
          </a:p>
        </p:txBody>
      </p:sp>
      <p:cxnSp>
        <p:nvCxnSpPr>
          <p:cNvPr id="47" name="Gerade Verbindung 46"/>
          <p:cNvCxnSpPr/>
          <p:nvPr userDrawn="1"/>
        </p:nvCxnSpPr>
        <p:spPr>
          <a:xfrm>
            <a:off x="-304799" y="488193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 Verbindung 47"/>
          <p:cNvCxnSpPr/>
          <p:nvPr userDrawn="1"/>
        </p:nvCxnSpPr>
        <p:spPr>
          <a:xfrm>
            <a:off x="9245602" y="4881935"/>
            <a:ext cx="2032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/>
          <p:nvPr userDrawn="1"/>
        </p:nvCxnSpPr>
        <p:spPr>
          <a:xfrm>
            <a:off x="-733423" y="4974628"/>
            <a:ext cx="63182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49"/>
          <p:cNvCxnSpPr/>
          <p:nvPr userDrawn="1"/>
        </p:nvCxnSpPr>
        <p:spPr>
          <a:xfrm>
            <a:off x="9245600" y="4974628"/>
            <a:ext cx="6336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Rechteck 50"/>
          <p:cNvSpPr/>
          <p:nvPr userDrawn="1"/>
        </p:nvSpPr>
        <p:spPr>
          <a:xfrm>
            <a:off x="-1061671" y="4918945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92</a:t>
            </a:r>
          </a:p>
        </p:txBody>
      </p:sp>
      <p:sp>
        <p:nvSpPr>
          <p:cNvPr id="52" name="Rechteck 51"/>
          <p:cNvSpPr/>
          <p:nvPr userDrawn="1"/>
        </p:nvSpPr>
        <p:spPr>
          <a:xfrm>
            <a:off x="9879200" y="4918945"/>
            <a:ext cx="328247" cy="11137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/>
            <a:r>
              <a:rPr lang="en-GB" sz="600" b="1" dirty="0">
                <a:solidFill>
                  <a:prstClr val="white"/>
                </a:solidFill>
              </a:rPr>
              <a:t>8,92</a:t>
            </a:r>
          </a:p>
        </p:txBody>
      </p:sp>
    </p:spTree>
    <p:extLst>
      <p:ext uri="{BB962C8B-B14F-4D97-AF65-F5344CB8AC3E}">
        <p14:creationId xmlns:p14="http://schemas.microsoft.com/office/powerpoint/2010/main" val="30501223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12439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2031" y="1131570"/>
            <a:ext cx="8305565" cy="3442716"/>
          </a:xfrm>
        </p:spPr>
        <p:txBody>
          <a:bodyPr lIns="0" tIns="0" rIns="0" bIns="0"/>
          <a:lstStyle>
            <a:lvl1pPr>
              <a:spcBef>
                <a:spcPts val="284"/>
              </a:spcBef>
              <a:defRPr/>
            </a:lvl1pPr>
            <a:lvl2pPr marL="338659" indent="-170663">
              <a:spcBef>
                <a:spcPts val="284"/>
              </a:spcBef>
              <a:defRPr/>
            </a:lvl2pPr>
            <a:lvl3pPr marL="677318" indent="-170663">
              <a:spcBef>
                <a:spcPts val="284"/>
              </a:spcBef>
              <a:defRPr/>
            </a:lvl3pPr>
            <a:lvl4pPr marL="1018644" indent="-173330">
              <a:spcBef>
                <a:spcPts val="284"/>
              </a:spcBef>
              <a:defRPr/>
            </a:lvl4pPr>
            <a:lvl5pPr marL="1525300" indent="-170663">
              <a:spcBef>
                <a:spcPts val="284"/>
              </a:spcBef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pic>
        <p:nvPicPr>
          <p:cNvPr id="6" name="Picture 22" descr="Facebook_icon.png"/>
          <p:cNvPicPr>
            <a:picLocks noChangeAspect="1"/>
          </p:cNvPicPr>
          <p:nvPr userDrawn="1"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0" r="98889">
                        <a14:backgroundMark x1="71111" y1="61250" x2="71111" y2="61250"/>
                        <a14:backgroundMark x1="71481" y1="82500" x2="71481" y2="82500"/>
                        <a14:backgroundMark x1="79630" y1="70000" x2="79630" y2="70000"/>
                        <a14:backgroundMark x1="90370" y1="61250" x2="65185" y2="75000"/>
                        <a14:backgroundMark x1="90000" y1="73750" x2="64815" y2="53750"/>
                        <a14:backgroundMark x1="84815" y1="60000" x2="91111" y2="60000"/>
                        <a14:backgroundMark x1="71111" y1="57500" x2="86667" y2="53750"/>
                        <a14:backgroundMark x1="91481" y1="66250" x2="87407" y2="52500"/>
                        <a14:backgroundMark x1="72222" y1="53750" x2="79630" y2="53750"/>
                        <a14:backgroundMark x1="67037" y1="53750" x2="77037" y2="56250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696200" y="285750"/>
            <a:ext cx="1152128" cy="341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Date Placeholder 10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677318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defTabSz="677318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358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270000" y="1281113"/>
            <a:ext cx="4220100" cy="3002400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ontent Placeholder 35"/>
          <p:cNvSpPr>
            <a:spLocks noGrp="1"/>
          </p:cNvSpPr>
          <p:nvPr>
            <p:ph sz="quarter" idx="14" hasCustomPrompt="1"/>
          </p:nvPr>
        </p:nvSpPr>
        <p:spPr>
          <a:xfrm>
            <a:off x="4643681" y="1281113"/>
            <a:ext cx="4220100" cy="3002400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0000" y="323038"/>
            <a:ext cx="8600156" cy="303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717171"/>
                </a:solidFill>
              </a:rPr>
              <a:pPr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0" y="4795132"/>
            <a:ext cx="3503084" cy="148344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</p:spTree>
    <p:extLst>
      <p:ext uri="{BB962C8B-B14F-4D97-AF65-F5344CB8AC3E}">
        <p14:creationId xmlns:p14="http://schemas.microsoft.com/office/powerpoint/2010/main" val="2478010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86758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31802" y="4898841"/>
            <a:ext cx="2679670" cy="236366"/>
          </a:xfrm>
        </p:spPr>
        <p:txBody>
          <a:bodyPr anchor="t">
            <a:noAutofit/>
          </a:bodyPr>
          <a:lstStyle>
            <a:lvl1pPr eaLnBrk="1">
              <a:defRPr sz="700" b="0"/>
            </a:lvl1pPr>
            <a:lvl2pPr marL="125929" indent="0">
              <a:buNone/>
              <a:defRPr/>
            </a:lvl2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60826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61" y="1083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1" name="think-cell Folie" r:id="rId5" imgW="421" imgH="420" progId="TCLayout.ActiveDocument.1">
                  <p:embed/>
                </p:oleObj>
              </mc:Choice>
              <mc:Fallback>
                <p:oleObj name="think-cell Folie" r:id="rId5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61" y="1083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20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22140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61" y="1084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61" y="1084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gray">
          <a:xfrm>
            <a:off x="2" y="0"/>
            <a:ext cx="146539" cy="1190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CDCDCD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276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lang="en-US" b="1" kern="0" dirty="0">
              <a:solidFill>
                <a:srgbClr val="000000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431802" y="161926"/>
            <a:ext cx="6145312" cy="59400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1" y="1034512"/>
            <a:ext cx="8281988" cy="3782757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5902" y="4881562"/>
            <a:ext cx="363934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288758" y="4881562"/>
            <a:ext cx="3640932" cy="261938"/>
          </a:xfrm>
        </p:spPr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5" name="Gerade Verbindung 11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Datumsplatzhalter 3"/>
          <p:cNvSpPr>
            <a:spLocks noGrp="1"/>
          </p:cNvSpPr>
          <p:nvPr>
            <p:ph type="dt" sz="half" idx="2"/>
          </p:nvPr>
        </p:nvSpPr>
        <p:spPr>
          <a:xfrm>
            <a:off x="3854317" y="4881562"/>
            <a:ext cx="1433594" cy="261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8" name="Picture 2"/>
          <p:cNvPicPr>
            <a:picLocks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1188" cy="25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303269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9" y="1081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4" name="Rechteck 6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5" name="Titel 1"/>
          <p:cNvSpPr>
            <a:spLocks noGrp="1"/>
          </p:cNvSpPr>
          <p:nvPr>
            <p:ph type="title" hasCustomPrompt="1"/>
          </p:nvPr>
        </p:nvSpPr>
        <p:spPr>
          <a:xfrm>
            <a:off x="431802" y="161926"/>
            <a:ext cx="6145312" cy="59400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26" name="Inhaltsplatzhalter 2"/>
          <p:cNvSpPr>
            <a:spLocks noGrp="1"/>
          </p:cNvSpPr>
          <p:nvPr>
            <p:ph idx="1" hasCustomPrompt="1"/>
          </p:nvPr>
        </p:nvSpPr>
        <p:spPr>
          <a:xfrm>
            <a:off x="431801" y="1034512"/>
            <a:ext cx="8281988" cy="3782757"/>
          </a:xfrm>
        </p:spPr>
        <p:txBody>
          <a:bodyPr>
            <a:noAutofit/>
          </a:bodyPr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second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2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215902" y="4881562"/>
            <a:ext cx="3639344" cy="261938"/>
          </a:xfrm>
        </p:spPr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28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5288758" y="4881562"/>
            <a:ext cx="3640932" cy="261938"/>
          </a:xfrm>
        </p:spPr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29" name="Gerade Verbindung 11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Datumsplatzhalter 3"/>
          <p:cNvSpPr>
            <a:spLocks noGrp="1"/>
          </p:cNvSpPr>
          <p:nvPr>
            <p:ph type="dt" sz="half" idx="2"/>
          </p:nvPr>
        </p:nvSpPr>
        <p:spPr>
          <a:xfrm>
            <a:off x="3854317" y="4881562"/>
            <a:ext cx="1433594" cy="261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12" name="Picture 2"/>
          <p:cNvPicPr>
            <a:picLocks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1188" cy="25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705370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800">
                <a:latin typeface="Century Gothic" panose="020B0502020202020204" pitchFamily="34" charset="0"/>
              </a:defRPr>
            </a:lvl1pPr>
          </a:lstStyle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800">
                <a:latin typeface="Century Gothic" panose="020B0502020202020204" pitchFamily="34" charset="0"/>
              </a:defRPr>
            </a:lvl1pPr>
          </a:lstStyle>
          <a:p>
            <a:endParaRPr lang="de-DE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800">
                <a:latin typeface="Century Gothic" panose="020B0502020202020204" pitchFamily="34" charset="0"/>
              </a:defRPr>
            </a:lvl1pPr>
          </a:lstStyle>
          <a:p>
            <a:fld id="{F94C9E40-F561-4668-BEA7-1A37C6F69B3C}" type="slidenum">
              <a:rPr lang="de-DE" smtClean="0">
                <a:solidFill>
                  <a:prstClr val="black"/>
                </a:solidFill>
              </a:rPr>
              <a:pPr/>
              <a:t>‹#›</a:t>
            </a:fld>
            <a:endParaRPr lang="de-DE">
              <a:solidFill>
                <a:prstClr val="black"/>
              </a:solidFill>
            </a:endParaRPr>
          </a:p>
        </p:txBody>
      </p:sp>
      <p:sp>
        <p:nvSpPr>
          <p:cNvPr id="8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2465766" y="2247714"/>
            <a:ext cx="6221034" cy="1869478"/>
          </a:xfrm>
          <a:blipFill dpi="0" rotWithShape="1">
            <a:blip r:embed="rId6"/>
            <a:srcRect/>
            <a:tile tx="-44450" ty="0" sx="51000" sy="51000" flip="none" algn="br"/>
          </a:blipFill>
        </p:spPr>
        <p:txBody>
          <a:bodyPr lIns="176402" bIns="1029011" anchor="t" anchorCtr="0"/>
          <a:lstStyle>
            <a:lvl1pPr marL="0" indent="0">
              <a:spcBef>
                <a:spcPts val="0"/>
              </a:spcBef>
              <a:buNone/>
              <a:defRPr sz="2100" b="1">
                <a:latin typeface="Century Gothic" panose="020B0502020202020204" pitchFamily="34" charset="0"/>
              </a:defRPr>
            </a:lvl1pPr>
            <a:lvl2pPr>
              <a:spcBef>
                <a:spcPts val="0"/>
              </a:spcBef>
              <a:defRPr sz="2100" b="1"/>
            </a:lvl2pPr>
            <a:lvl3pPr marL="0" indent="0" algn="l">
              <a:spcBef>
                <a:spcPts val="0"/>
              </a:spcBef>
              <a:buNone/>
              <a:defRPr sz="2100" b="1"/>
            </a:lvl3pPr>
            <a:lvl4pPr marL="0" indent="0">
              <a:spcBef>
                <a:spcPts val="0"/>
              </a:spcBef>
              <a:buNone/>
              <a:defRPr sz="2100" b="1"/>
            </a:lvl4pPr>
            <a:lvl5pPr marL="0" indent="0">
              <a:spcBef>
                <a:spcPts val="0"/>
              </a:spcBef>
              <a:buNone/>
              <a:defRPr sz="2100" b="1"/>
            </a:lvl5pPr>
            <a:lvl6pPr marL="0" indent="0">
              <a:spcBef>
                <a:spcPts val="0"/>
              </a:spcBef>
              <a:buNone/>
              <a:defRPr sz="2100" b="1">
                <a:latin typeface="Century Gothic" pitchFamily="34" charset="0"/>
              </a:defRPr>
            </a:lvl6pPr>
          </a:lstStyle>
          <a:p>
            <a:pPr lvl="0"/>
            <a:endParaRPr lang="en-GB" noProof="0" dirty="0"/>
          </a:p>
          <a:p>
            <a:pPr lvl="0"/>
            <a:r>
              <a:rPr lang="en-GB" noProof="0" dirty="0"/>
              <a:t>Click here to add your title</a:t>
            </a:r>
          </a:p>
        </p:txBody>
      </p:sp>
    </p:spTree>
    <p:extLst>
      <p:ext uri="{BB962C8B-B14F-4D97-AF65-F5344CB8AC3E}">
        <p14:creationId xmlns:p14="http://schemas.microsoft.com/office/powerpoint/2010/main" val="6543317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69998" y="1281113"/>
            <a:ext cx="27594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3188494" y="1281113"/>
            <a:ext cx="27594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/>
          </p:nvPr>
        </p:nvSpPr>
        <p:spPr>
          <a:xfrm>
            <a:off x="6106990" y="1281113"/>
            <a:ext cx="27594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0000" y="323038"/>
            <a:ext cx="8600156" cy="303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0" y="4795132"/>
            <a:ext cx="3503084" cy="148344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717171"/>
                </a:solidFill>
              </a:rPr>
              <a:pPr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857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x content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269999" y="1281113"/>
            <a:ext cx="20358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4" hasCustomPrompt="1"/>
          </p:nvPr>
        </p:nvSpPr>
        <p:spPr>
          <a:xfrm>
            <a:off x="2456394" y="1281113"/>
            <a:ext cx="20358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642790" y="1281113"/>
            <a:ext cx="20358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6" hasCustomPrompt="1"/>
          </p:nvPr>
        </p:nvSpPr>
        <p:spPr>
          <a:xfrm>
            <a:off x="6829185" y="1281113"/>
            <a:ext cx="2035800" cy="3002756"/>
          </a:xfrm>
        </p:spPr>
        <p:txBody>
          <a:bodyPr>
            <a:noAutofit/>
          </a:bodyPr>
          <a:lstStyle>
            <a:lvl1pPr>
              <a:defRPr sz="1200" b="0">
                <a:solidFill>
                  <a:schemeClr val="tx1"/>
                </a:solidFill>
              </a:defRPr>
            </a:lvl1pPr>
            <a:lvl2pPr>
              <a:spcBef>
                <a:spcPts val="450"/>
              </a:spcBef>
              <a:defRPr sz="1200">
                <a:solidFill>
                  <a:schemeClr val="tx1"/>
                </a:solidFill>
              </a:defRPr>
            </a:lvl2pPr>
            <a:lvl3pPr>
              <a:spcBef>
                <a:spcPts val="450"/>
              </a:spcBef>
              <a:defRPr sz="1200">
                <a:solidFill>
                  <a:schemeClr val="tx1"/>
                </a:solidFill>
              </a:defRPr>
            </a:lvl3pPr>
            <a:lvl4pPr>
              <a:spcBef>
                <a:spcPts val="45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450"/>
              </a:spcBef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0000" y="323038"/>
            <a:ext cx="8600156" cy="303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0" y="4795132"/>
            <a:ext cx="3503084" cy="148344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717171"/>
                </a:solidFill>
              </a:rPr>
              <a:pPr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524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no sub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70000" y="323038"/>
            <a:ext cx="8600156" cy="30308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034BEE3-566C-4068-A777-C3A4762E861B}" type="slidenum">
              <a:rPr lang="en-GB" smtClean="0">
                <a:solidFill>
                  <a:srgbClr val="717171"/>
                </a:solidFill>
              </a:rPr>
              <a:pPr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0" y="4795132"/>
            <a:ext cx="3503084" cy="148344"/>
          </a:xfrm>
        </p:spPr>
        <p:txBody>
          <a:bodyPr anchor="ctr">
            <a:noAutofit/>
          </a:bodyPr>
          <a:lstStyle>
            <a:lvl1pPr>
              <a:spcBef>
                <a:spcPts val="450"/>
              </a:spcBef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footer text</a:t>
            </a:r>
          </a:p>
        </p:txBody>
      </p:sp>
    </p:spTree>
    <p:extLst>
      <p:ext uri="{BB962C8B-B14F-4D97-AF65-F5344CB8AC3E}">
        <p14:creationId xmlns:p14="http://schemas.microsoft.com/office/powerpoint/2010/main" val="2457656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9" y="1081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" name="think-cell Folie" r:id="rId4" imgW="421" imgH="420" progId="TCLayout.ActiveDocument.1">
                  <p:embed/>
                </p:oleObj>
              </mc:Choice>
              <mc:Fallback>
                <p:oleObj name="think-cell Folie" r:id="rId4" imgW="421" imgH="42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 descr="\\NAS\INSCALE_aktuelle_Projekte\RB International - Raiffeisen\13-0218_Master_PPT_Userguide_Nagy\neue Dateien\Material\Bildplatzhalter.jp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901" y="161927"/>
            <a:ext cx="8710611" cy="47184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215902" y="161925"/>
            <a:ext cx="8710613" cy="481965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 dirty="0"/>
              <a:t>Image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1341927" y="2635895"/>
            <a:ext cx="7584587" cy="1695600"/>
          </a:xfrm>
          <a:blipFill dpi="0" rotWithShape="1">
            <a:blip r:embed="rId7"/>
            <a:srcRect/>
            <a:tile tx="-44450" ty="0" sx="51000" sy="51000" flip="none" algn="br"/>
          </a:blipFill>
        </p:spPr>
        <p:txBody>
          <a:bodyPr lIns="176402" bIns="1029011" anchor="b" anchorCtr="0"/>
          <a:lstStyle>
            <a:lvl1pPr>
              <a:spcBef>
                <a:spcPts val="0"/>
              </a:spcBef>
              <a:defRPr sz="1900"/>
            </a:lvl1pPr>
            <a:lvl2pPr>
              <a:spcBef>
                <a:spcPts val="0"/>
              </a:spcBef>
              <a:defRPr sz="1900" b="1"/>
            </a:lvl2pPr>
            <a:lvl3pPr marL="0" indent="0" algn="l">
              <a:spcBef>
                <a:spcPts val="0"/>
              </a:spcBef>
              <a:buNone/>
              <a:defRPr sz="1900" b="1"/>
            </a:lvl3pPr>
            <a:lvl4pPr marL="0" indent="0">
              <a:spcBef>
                <a:spcPts val="0"/>
              </a:spcBef>
              <a:buNone/>
              <a:defRPr sz="1900" b="1"/>
            </a:lvl4pPr>
            <a:lvl5pPr marL="0" indent="0">
              <a:spcBef>
                <a:spcPts val="0"/>
              </a:spcBef>
              <a:buNone/>
              <a:defRPr sz="1900" b="1"/>
            </a:lvl5pPr>
            <a:lvl6pPr marL="0" indent="0">
              <a:spcBef>
                <a:spcPts val="0"/>
              </a:spcBef>
              <a:buNone/>
              <a:defRPr sz="1900" b="1">
                <a:latin typeface="Century Gothic" pitchFamily="34" charset="0"/>
              </a:defRPr>
            </a:lvl6pPr>
          </a:lstStyle>
          <a:p>
            <a:pPr lvl="0"/>
            <a:r>
              <a:rPr lang="en-GB" noProof="0" dirty="0"/>
              <a:t>Click here to add your 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124075" y="3464063"/>
            <a:ext cx="6589714" cy="30784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000" b="0" baseline="0">
                <a:solidFill>
                  <a:schemeClr val="tx1"/>
                </a:solidFill>
              </a:defRPr>
            </a:lvl1pPr>
            <a:lvl2pPr marL="3386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73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15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54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932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31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70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09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 dirty="0"/>
              <a:t>Click here to add your subtitle and the name of speaker</a:t>
            </a:r>
          </a:p>
        </p:txBody>
      </p:sp>
    </p:spTree>
    <p:extLst>
      <p:ext uri="{BB962C8B-B14F-4D97-AF65-F5344CB8AC3E}">
        <p14:creationId xmlns:p14="http://schemas.microsoft.com/office/powerpoint/2010/main" val="18877648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9D44E10-6411-4C5F-890A-50E1EBC515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6524460"/>
              </p:ext>
            </p:extLst>
          </p:nvPr>
        </p:nvGraphicFramePr>
        <p:xfrm>
          <a:off x="1359" y="1081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GB" b="1" dirty="0">
              <a:solidFill>
                <a:prstClr val="black"/>
              </a:solidFill>
              <a:ea typeface="+mj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2" y="161926"/>
            <a:ext cx="6145312" cy="59400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</a:t>
            </a:r>
            <a:r>
              <a:rPr lang="en-GB" noProof="0" dirty="0" err="1"/>
              <a:t>sencond</a:t>
            </a:r>
            <a:r>
              <a:rPr lang="en-GB" noProof="0" dirty="0"/>
              <a:t>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2" name="Gerade Verbindung 11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1197" y="323424"/>
            <a:ext cx="1603271" cy="27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13610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pic>
        <p:nvPicPr>
          <p:cNvPr id="1026" name="Picture 2" descr="\\NAS\INSCALE_aktuelle_Projekte\RB International - Raiffeisen\13-0218_Master_PPT_Userguide_Nagy\neue Dateien\Material\Bildplatzhalter.jp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23" b="7685"/>
          <a:stretch/>
        </p:blipFill>
        <p:spPr bwMode="auto">
          <a:xfrm>
            <a:off x="219077" y="755927"/>
            <a:ext cx="8708822" cy="4061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0" y="161926"/>
            <a:ext cx="6145200" cy="594001"/>
          </a:xfrm>
        </p:spPr>
        <p:txBody>
          <a:bodyPr/>
          <a:lstStyle>
            <a:lvl1pPr>
              <a:defRPr sz="1800"/>
            </a:lvl1pPr>
          </a:lstStyle>
          <a:p>
            <a:r>
              <a:rPr lang="en-GB" noProof="0" dirty="0"/>
              <a:t>Click here to add your tit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 hasCustomPrompt="1"/>
          </p:nvPr>
        </p:nvSpPr>
        <p:spPr>
          <a:xfrm>
            <a:off x="215900" y="756047"/>
            <a:ext cx="8712000" cy="4061222"/>
          </a:xfrm>
        </p:spPr>
        <p:txBody>
          <a:bodyPr lIns="161702" tIns="176402"/>
          <a:lstStyle>
            <a:lvl1pPr>
              <a:defRPr sz="1200"/>
            </a:lvl1pPr>
          </a:lstStyle>
          <a:p>
            <a:r>
              <a:rPr lang="en-GB" noProof="0" dirty="0"/>
              <a:t>Image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981749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8" y="1080"/>
          <a:ext cx="1358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080"/>
                        <a:ext cx="1358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US" sz="2700" b="1" dirty="0">
              <a:solidFill>
                <a:prstClr val="black"/>
              </a:solidFill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31801" y="2053831"/>
            <a:ext cx="8281985" cy="1021556"/>
          </a:xfrm>
        </p:spPr>
        <p:txBody>
          <a:bodyPr anchor="ctr" anchorCtr="0"/>
          <a:lstStyle>
            <a:lvl1pPr algn="ctr">
              <a:defRPr sz="2700" b="1" cap="none"/>
            </a:lvl1pPr>
          </a:lstStyle>
          <a:p>
            <a:pPr lvl="0"/>
            <a:r>
              <a:rPr lang="en-GB" noProof="0" dirty="0"/>
              <a:t>Click here to add your chapter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hteck 6"/>
          <p:cNvSpPr/>
          <p:nvPr userDrawn="1"/>
        </p:nvSpPr>
        <p:spPr>
          <a:xfrm>
            <a:off x="215900" y="161926"/>
            <a:ext cx="8712000" cy="59400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731" tIns="33866" rIns="67731" bIns="33866" rtlCol="0" anchor="ctr"/>
          <a:lstStyle/>
          <a:p>
            <a:pPr algn="ctr" defTabSz="677318"/>
            <a:endParaRPr lang="en-GB" sz="1400" dirty="0">
              <a:solidFill>
                <a:prstClr val="white"/>
              </a:solidFill>
            </a:endParaRPr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15901" y="4817269"/>
            <a:ext cx="8713787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5831" y="336026"/>
            <a:ext cx="1827957" cy="245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00294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image" Target="../media/image3.emf"/><Relationship Id="rId3" Type="http://schemas.openxmlformats.org/officeDocument/2006/relationships/slideLayout" Target="../slideLayouts/slideLayout8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89" b="19465"/>
          <a:stretch/>
        </p:blipFill>
        <p:spPr>
          <a:xfrm>
            <a:off x="270000" y="4800109"/>
            <a:ext cx="1178719" cy="138832"/>
          </a:xfrm>
          <a:prstGeom prst="rect">
            <a:avLst/>
          </a:prstGeom>
        </p:spPr>
      </p:pic>
      <p:sp>
        <p:nvSpPr>
          <p:cNvPr id="91" name="Title Placeholder 1"/>
          <p:cNvSpPr>
            <a:spLocks noGrp="1"/>
          </p:cNvSpPr>
          <p:nvPr>
            <p:ph type="title"/>
          </p:nvPr>
        </p:nvSpPr>
        <p:spPr>
          <a:xfrm>
            <a:off x="270000" y="323038"/>
            <a:ext cx="8600156" cy="52826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GB" dirty="0"/>
              <a:t>Click to edit master title style</a:t>
            </a:r>
          </a:p>
        </p:txBody>
      </p:sp>
      <p:sp>
        <p:nvSpPr>
          <p:cNvPr id="92" name="Text Placeholder 2"/>
          <p:cNvSpPr>
            <a:spLocks noGrp="1"/>
          </p:cNvSpPr>
          <p:nvPr>
            <p:ph type="body" idx="1"/>
          </p:nvPr>
        </p:nvSpPr>
        <p:spPr>
          <a:xfrm>
            <a:off x="270000" y="1281113"/>
            <a:ext cx="8600156" cy="30027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42685" y="4795706"/>
            <a:ext cx="727472" cy="14763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defTabSz="685800"/>
            <a:fld id="{4034BEE3-566C-4068-A777-C3A4762E861B}" type="slidenum">
              <a:rPr lang="en-GB" smtClean="0">
                <a:solidFill>
                  <a:srgbClr val="717171"/>
                </a:solidFill>
              </a:rPr>
              <a:pPr defTabSz="685800"/>
              <a:t>‹#›</a:t>
            </a:fld>
            <a:endParaRPr lang="en-GB" dirty="0">
              <a:solidFill>
                <a:srgbClr val="717171"/>
              </a:solidFill>
            </a:endParaRPr>
          </a:p>
        </p:txBody>
      </p:sp>
      <p:cxnSp>
        <p:nvCxnSpPr>
          <p:cNvPr id="94" name="Straight Connector 93"/>
          <p:cNvCxnSpPr/>
          <p:nvPr/>
        </p:nvCxnSpPr>
        <p:spPr>
          <a:xfrm>
            <a:off x="0" y="4593743"/>
            <a:ext cx="9144900" cy="0"/>
          </a:xfrm>
          <a:prstGeom prst="line">
            <a:avLst/>
          </a:prstGeom>
          <a:ln w="19050">
            <a:gradFill>
              <a:gsLst>
                <a:gs pos="0">
                  <a:srgbClr val="F2DA64"/>
                </a:gs>
                <a:gs pos="18000">
                  <a:srgbClr val="A27700"/>
                </a:gs>
                <a:gs pos="71000">
                  <a:srgbClr val="D7B446"/>
                </a:gs>
                <a:gs pos="51000">
                  <a:srgbClr val="F2DA64"/>
                </a:gs>
                <a:gs pos="100000">
                  <a:srgbClr val="987000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 hidden="1"/>
          <p:cNvGrpSpPr/>
          <p:nvPr userDrawn="1"/>
        </p:nvGrpSpPr>
        <p:grpSpPr>
          <a:xfrm>
            <a:off x="-857250" y="-450191"/>
            <a:ext cx="10260211" cy="5040191"/>
            <a:chOff x="-1143000" y="-600255"/>
            <a:chExt cx="13680281" cy="6720255"/>
          </a:xfrm>
        </p:grpSpPr>
        <p:cxnSp>
          <p:nvCxnSpPr>
            <p:cNvPr id="90" name="Straight Connector 89" hidden="1"/>
            <p:cNvCxnSpPr/>
            <p:nvPr userDrawn="1"/>
          </p:nvCxnSpPr>
          <p:spPr>
            <a:xfrm>
              <a:off x="11826875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 hidden="1"/>
            <p:cNvCxnSpPr/>
            <p:nvPr userDrawn="1"/>
          </p:nvCxnSpPr>
          <p:spPr>
            <a:xfrm>
              <a:off x="-256200" y="1710267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 hidden="1"/>
            <p:cNvCxnSpPr/>
            <p:nvPr userDrawn="1"/>
          </p:nvCxnSpPr>
          <p:spPr>
            <a:xfrm>
              <a:off x="-256200" y="612000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 hidden="1"/>
            <p:cNvCxnSpPr/>
            <p:nvPr userDrawn="1"/>
          </p:nvCxnSpPr>
          <p:spPr>
            <a:xfrm>
              <a:off x="-256200" y="342635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 hidden="1"/>
            <p:cNvCxnSpPr/>
            <p:nvPr userDrawn="1"/>
          </p:nvCxnSpPr>
          <p:spPr>
            <a:xfrm>
              <a:off x="-256200" y="5714470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1" name="TextBox 100" hidden="1"/>
            <p:cNvSpPr txBox="1"/>
            <p:nvPr userDrawn="1"/>
          </p:nvSpPr>
          <p:spPr>
            <a:xfrm>
              <a:off x="-747711" y="164615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4.78cm</a:t>
              </a:r>
            </a:p>
          </p:txBody>
        </p:sp>
        <p:sp>
          <p:nvSpPr>
            <p:cNvPr id="102" name="TextBox 101" hidden="1"/>
            <p:cNvSpPr txBox="1"/>
            <p:nvPr userDrawn="1"/>
          </p:nvSpPr>
          <p:spPr>
            <a:xfrm>
              <a:off x="-747711" y="3357884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0 cm</a:t>
              </a:r>
            </a:p>
          </p:txBody>
        </p:sp>
        <p:sp>
          <p:nvSpPr>
            <p:cNvPr id="103" name="TextBox 102" hidden="1"/>
            <p:cNvSpPr txBox="1"/>
            <p:nvPr userDrawn="1"/>
          </p:nvSpPr>
          <p:spPr>
            <a:xfrm>
              <a:off x="-747711" y="5640188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6.35 cm</a:t>
              </a:r>
            </a:p>
          </p:txBody>
        </p:sp>
        <p:sp>
          <p:nvSpPr>
            <p:cNvPr id="104" name="TextBox 103" hidden="1"/>
            <p:cNvSpPr txBox="1"/>
            <p:nvPr userDrawn="1"/>
          </p:nvSpPr>
          <p:spPr>
            <a:xfrm>
              <a:off x="304800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/>
              <a:r>
                <a:rPr lang="en-GB" sz="600" dirty="0">
                  <a:solidFill>
                    <a:srgbClr val="717171"/>
                  </a:solidFill>
                </a:rPr>
                <a:t>15.93 cm</a:t>
              </a:r>
            </a:p>
          </p:txBody>
        </p:sp>
        <p:sp>
          <p:nvSpPr>
            <p:cNvPr id="105" name="TextBox 104" hidden="1"/>
            <p:cNvSpPr txBox="1"/>
            <p:nvPr userDrawn="1"/>
          </p:nvSpPr>
          <p:spPr>
            <a:xfrm>
              <a:off x="11426031" y="-437436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15.92 cm</a:t>
              </a:r>
            </a:p>
          </p:txBody>
        </p:sp>
        <p:cxnSp>
          <p:nvCxnSpPr>
            <p:cNvPr id="106" name="Straight Connector 105" hidden="1"/>
            <p:cNvCxnSpPr/>
            <p:nvPr userDrawn="1"/>
          </p:nvCxnSpPr>
          <p:spPr>
            <a:xfrm>
              <a:off x="361588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hidden="1"/>
            <p:cNvSpPr txBox="1"/>
            <p:nvPr userDrawn="1"/>
          </p:nvSpPr>
          <p:spPr>
            <a:xfrm>
              <a:off x="-1143000" y="5763299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Content Bottom</a:t>
              </a:r>
            </a:p>
          </p:txBody>
        </p:sp>
        <p:sp>
          <p:nvSpPr>
            <p:cNvPr id="108" name="TextBox 107" hidden="1"/>
            <p:cNvSpPr txBox="1"/>
            <p:nvPr userDrawn="1"/>
          </p:nvSpPr>
          <p:spPr>
            <a:xfrm>
              <a:off x="-1143000" y="1769267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Content Top</a:t>
              </a:r>
            </a:p>
          </p:txBody>
        </p:sp>
        <p:sp>
          <p:nvSpPr>
            <p:cNvPr id="109" name="TextBox 108" hidden="1"/>
            <p:cNvSpPr txBox="1"/>
            <p:nvPr userDrawn="1"/>
          </p:nvSpPr>
          <p:spPr>
            <a:xfrm>
              <a:off x="-590537" y="-438330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Left Margin</a:t>
              </a:r>
            </a:p>
          </p:txBody>
        </p:sp>
        <p:sp>
          <p:nvSpPr>
            <p:cNvPr id="110" name="TextBox 109" hidden="1"/>
            <p:cNvSpPr txBox="1"/>
            <p:nvPr userDrawn="1"/>
          </p:nvSpPr>
          <p:spPr>
            <a:xfrm>
              <a:off x="11898039" y="-438330"/>
              <a:ext cx="639242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685800"/>
              <a:r>
                <a:rPr lang="en-GB" sz="600" dirty="0">
                  <a:solidFill>
                    <a:srgbClr val="717171"/>
                  </a:solidFill>
                </a:rPr>
                <a:t>Right Margin</a:t>
              </a:r>
            </a:p>
          </p:txBody>
        </p:sp>
        <p:cxnSp>
          <p:nvCxnSpPr>
            <p:cNvPr id="111" name="Straight Connector 110" hidden="1"/>
            <p:cNvCxnSpPr/>
            <p:nvPr userDrawn="1"/>
          </p:nvCxnSpPr>
          <p:spPr>
            <a:xfrm>
              <a:off x="6096000" y="-363357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2" name="TextBox 111" hidden="1"/>
            <p:cNvSpPr txBox="1"/>
            <p:nvPr userDrawn="1"/>
          </p:nvSpPr>
          <p:spPr>
            <a:xfrm>
              <a:off x="5914719" y="-600255"/>
              <a:ext cx="362256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800"/>
              <a:r>
                <a:rPr lang="en-GB" sz="600" dirty="0">
                  <a:solidFill>
                    <a:srgbClr val="717171"/>
                  </a:solidFill>
                </a:rPr>
                <a:t>Middle </a:t>
              </a:r>
              <a:br>
                <a:rPr lang="en-GB" sz="600" dirty="0">
                  <a:solidFill>
                    <a:srgbClr val="717171"/>
                  </a:solidFill>
                </a:rPr>
              </a:br>
              <a:r>
                <a:rPr lang="en-GB" sz="600" dirty="0">
                  <a:solidFill>
                    <a:srgbClr val="717171"/>
                  </a:solidFill>
                </a:rPr>
                <a:t>0cm </a:t>
              </a:r>
            </a:p>
          </p:txBody>
        </p:sp>
        <p:sp>
          <p:nvSpPr>
            <p:cNvPr id="113" name="TextBox 112" hidden="1"/>
            <p:cNvSpPr txBox="1"/>
            <p:nvPr userDrawn="1"/>
          </p:nvSpPr>
          <p:spPr>
            <a:xfrm>
              <a:off x="5636264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800"/>
              <a:r>
                <a:rPr lang="en-GB" sz="600" dirty="0">
                  <a:solidFill>
                    <a:srgbClr val="717171"/>
                  </a:solidFill>
                </a:rPr>
                <a:t>0.26cm</a:t>
              </a:r>
            </a:p>
          </p:txBody>
        </p:sp>
        <p:cxnSp>
          <p:nvCxnSpPr>
            <p:cNvPr id="114" name="Straight Connector 113" hidden="1"/>
            <p:cNvCxnSpPr/>
            <p:nvPr userDrawn="1"/>
          </p:nvCxnSpPr>
          <p:spPr>
            <a:xfrm>
              <a:off x="6000389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 hidden="1"/>
            <p:cNvCxnSpPr/>
            <p:nvPr userDrawn="1"/>
          </p:nvCxnSpPr>
          <p:spPr>
            <a:xfrm>
              <a:off x="6190362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6" name="TextBox 115" hidden="1"/>
            <p:cNvSpPr txBox="1"/>
            <p:nvPr userDrawn="1"/>
          </p:nvSpPr>
          <p:spPr>
            <a:xfrm>
              <a:off x="6191102" y="-208836"/>
              <a:ext cx="362256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685800"/>
              <a:r>
                <a:rPr lang="en-GB" sz="600" dirty="0">
                  <a:solidFill>
                    <a:srgbClr val="717171"/>
                  </a:solidFill>
                </a:rPr>
                <a:t>0.26cm</a:t>
              </a:r>
            </a:p>
          </p:txBody>
        </p:sp>
        <p:cxnSp>
          <p:nvCxnSpPr>
            <p:cNvPr id="117" name="Straight Connector 116" hidden="1"/>
            <p:cNvCxnSpPr/>
            <p:nvPr userDrawn="1"/>
          </p:nvCxnSpPr>
          <p:spPr>
            <a:xfrm>
              <a:off x="11826875" y="-265725"/>
              <a:ext cx="0" cy="18000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5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 hidden="1"/>
            <p:cNvCxnSpPr/>
            <p:nvPr userDrawn="1"/>
          </p:nvCxnSpPr>
          <p:spPr>
            <a:xfrm>
              <a:off x="-256200" y="430824"/>
              <a:ext cx="180000" cy="0"/>
            </a:xfrm>
            <a:prstGeom prst="line">
              <a:avLst/>
            </a:prstGeom>
            <a:ln w="6350">
              <a:gradFill>
                <a:gsLst>
                  <a:gs pos="0">
                    <a:srgbClr val="F2DA64"/>
                  </a:gs>
                  <a:gs pos="18000">
                    <a:srgbClr val="A27700"/>
                  </a:gs>
                  <a:gs pos="71000">
                    <a:srgbClr val="D7B446"/>
                  </a:gs>
                  <a:gs pos="51000">
                    <a:srgbClr val="F2DA64"/>
                  </a:gs>
                  <a:gs pos="100000">
                    <a:srgbClr val="987000"/>
                  </a:gs>
                </a:gsLst>
                <a:lin ang="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9" name="TextBox 118" hidden="1"/>
            <p:cNvSpPr txBox="1"/>
            <p:nvPr userDrawn="1"/>
          </p:nvSpPr>
          <p:spPr>
            <a:xfrm>
              <a:off x="-747711" y="404813"/>
              <a:ext cx="438671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 dirty="0">
                  <a:solidFill>
                    <a:srgbClr val="717171"/>
                  </a:solidFill>
                </a:rPr>
                <a:t>8.33cm</a:t>
              </a:r>
            </a:p>
          </p:txBody>
        </p:sp>
        <p:sp>
          <p:nvSpPr>
            <p:cNvPr id="120" name="TextBox 119" hidden="1"/>
            <p:cNvSpPr txBox="1"/>
            <p:nvPr userDrawn="1"/>
          </p:nvSpPr>
          <p:spPr>
            <a:xfrm>
              <a:off x="-1143000" y="527924"/>
              <a:ext cx="833960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685800"/>
              <a:r>
                <a:rPr lang="en-GB" sz="600">
                  <a:solidFill>
                    <a:srgbClr val="717171"/>
                  </a:solidFill>
                </a:rPr>
                <a:t>Title Top</a:t>
              </a:r>
              <a:endParaRPr lang="en-GB" sz="600" dirty="0">
                <a:solidFill>
                  <a:srgbClr val="717171"/>
                </a:solidFill>
              </a:endParaRPr>
            </a:p>
          </p:txBody>
        </p:sp>
      </p:grpSp>
      <p:pic>
        <p:nvPicPr>
          <p:cNvPr id="34" name="Picture 33">
            <a:extLst>
              <a:ext uri="{FF2B5EF4-FFF2-40B4-BE49-F238E27FC236}">
                <a16:creationId xmlns:a16="http://schemas.microsoft.com/office/drawing/2014/main" id="{FA270169-EA99-41FE-9A47-E99C8B895B3A}"/>
              </a:ext>
            </a:extLst>
          </p:cNvPr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1734468" y="4800109"/>
            <a:ext cx="562345" cy="151219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FCF34F8-010F-4B0C-B836-D9660CD0A39B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1591593" y="4800109"/>
            <a:ext cx="0" cy="138832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878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800" rtl="0" eaLnBrk="1" latinLnBrk="0" hangingPunct="1">
        <a:lnSpc>
          <a:spcPct val="100000"/>
        </a:lnSpc>
        <a:spcBef>
          <a:spcPts val="45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9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35731" indent="-135731" algn="l" defTabSz="685800" rtl="0" eaLnBrk="1" latinLnBrk="0" hangingPunct="1">
        <a:lnSpc>
          <a:spcPct val="100000"/>
        </a:lnSpc>
        <a:spcBef>
          <a:spcPts val="4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271463" indent="-135731" algn="l" defTabSz="685800" rtl="0" eaLnBrk="1" latinLnBrk="0" hangingPunct="1">
        <a:lnSpc>
          <a:spcPct val="100000"/>
        </a:lnSpc>
        <a:spcBef>
          <a:spcPts val="4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407194" indent="-135731" algn="l" defTabSz="685800" rtl="0" eaLnBrk="1" latinLnBrk="0" hangingPunct="1">
        <a:lnSpc>
          <a:spcPct val="100000"/>
        </a:lnSpc>
        <a:spcBef>
          <a:spcPts val="4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535781" indent="-128588" algn="l" defTabSz="685800" rtl="0" eaLnBrk="1" latinLnBrk="0" hangingPunct="1">
        <a:lnSpc>
          <a:spcPct val="100000"/>
        </a:lnSpc>
        <a:spcBef>
          <a:spcPts val="4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28">
          <p15:clr>
            <a:srgbClr val="F26B43"/>
          </p15:clr>
        </p15:guide>
        <p15:guide id="2" orient="horz" pos="2160">
          <p15:clr>
            <a:srgbClr val="F26B43"/>
          </p15:clr>
        </p15:guide>
        <p15:guide id="13" pos="3780">
          <p15:clr>
            <a:srgbClr val="F26B43"/>
          </p15:clr>
        </p15:guide>
        <p15:guide id="14" pos="3900">
          <p15:clr>
            <a:srgbClr val="F26B43"/>
          </p15:clr>
        </p15:guide>
        <p15:guide id="25" pos="7451">
          <p15:clr>
            <a:srgbClr val="F26B43"/>
          </p15:clr>
        </p15:guide>
        <p15:guide id="28" orient="horz" pos="1077">
          <p15:clr>
            <a:srgbClr val="F26B43"/>
          </p15:clr>
        </p15:guide>
        <p15:guide id="29" orient="horz" pos="270">
          <p15:clr>
            <a:srgbClr val="F26B43"/>
          </p15:clr>
        </p15:guide>
        <p15:guide id="33" orient="horz" pos="3600">
          <p15:clr>
            <a:srgbClr val="F26B43"/>
          </p15:clr>
        </p15:guide>
        <p15:guide id="34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004237747"/>
              </p:ext>
            </p:extLst>
          </p:nvPr>
        </p:nvGraphicFramePr>
        <p:xfrm>
          <a:off x="1359" y="1081"/>
          <a:ext cx="1357" cy="1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" name="think-cell Folie" r:id="rId25" imgW="270" imgH="270" progId="TCLayout.ActiveDocument.1">
                  <p:embed/>
                </p:oleObj>
              </mc:Choice>
              <mc:Fallback>
                <p:oleObj name="think-cell Foli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359" y="1081"/>
                        <a:ext cx="1357" cy="1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35749" cy="107989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77318">
              <a:spcBef>
                <a:spcPct val="0"/>
              </a:spcBef>
              <a:spcAft>
                <a:spcPct val="0"/>
              </a:spcAft>
            </a:pPr>
            <a:endParaRPr lang="en-GB" b="1" dirty="0">
              <a:solidFill>
                <a:prstClr val="black"/>
              </a:solidFill>
              <a:ea typeface="+mj-ea"/>
              <a:cs typeface="Arial" panose="020B0604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31801" y="161926"/>
            <a:ext cx="8281988" cy="5940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GB" noProof="0" dirty="0"/>
              <a:t>Click here to add you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31801" y="1034512"/>
            <a:ext cx="8281988" cy="37827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 dirty="0"/>
              <a:t>The first level</a:t>
            </a:r>
          </a:p>
          <a:p>
            <a:pPr lvl="1"/>
            <a:r>
              <a:rPr lang="en-GB" noProof="0" dirty="0"/>
              <a:t>The </a:t>
            </a:r>
            <a:r>
              <a:rPr lang="en-GB" noProof="0" dirty="0" err="1"/>
              <a:t>sencond</a:t>
            </a:r>
            <a:r>
              <a:rPr lang="en-GB" noProof="0" dirty="0"/>
              <a:t> level</a:t>
            </a:r>
          </a:p>
          <a:p>
            <a:pPr lvl="2"/>
            <a:r>
              <a:rPr lang="en-GB" noProof="0" dirty="0"/>
              <a:t>The third level</a:t>
            </a:r>
          </a:p>
          <a:p>
            <a:pPr lvl="3"/>
            <a:r>
              <a:rPr lang="en-GB" noProof="0" dirty="0"/>
              <a:t>The fourth level</a:t>
            </a:r>
          </a:p>
          <a:p>
            <a:pPr lvl="4"/>
            <a:r>
              <a:rPr lang="en-GB" noProof="0" dirty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3854317" y="4881562"/>
            <a:ext cx="1433594" cy="261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7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pPr defTabSz="677318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15902" y="4881562"/>
            <a:ext cx="3639344" cy="261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7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pPr defTabSz="677318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5288758" y="4881562"/>
            <a:ext cx="3640932" cy="261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7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‹#›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171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</p:sldLayoutIdLst>
  <p:hf hdr="0" ftr="0" dt="0"/>
  <p:txStyles>
    <p:titleStyle>
      <a:lvl1pPr algn="l" defTabSz="677318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677318" rtl="0" eaLnBrk="1" latinLnBrk="0" hangingPunct="1">
        <a:spcBef>
          <a:spcPts val="1334"/>
        </a:spcBef>
        <a:buFont typeface="Arial" pitchFamily="34" charset="0"/>
        <a:buNone/>
        <a:defRPr sz="1500" b="1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0" indent="0" algn="l" defTabSz="677318" rtl="0" eaLnBrk="1" latinLnBrk="0" hangingPunct="1">
        <a:spcBef>
          <a:spcPts val="1334"/>
        </a:spcBef>
        <a:buFont typeface="Wingdings" pitchFamily="2" charset="2"/>
        <a:buNone/>
        <a:defRPr sz="15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131701" indent="-131701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264578" indent="-132878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396278" indent="-131701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529155" indent="-126998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663208" indent="-134053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797260" indent="-134053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931313" indent="-134053" algn="l" defTabSz="677318" rtl="0" eaLnBrk="1" latinLnBrk="0" hangingPunct="1">
        <a:spcBef>
          <a:spcPts val="1334"/>
        </a:spcBef>
        <a:buFont typeface="Wingdings" pitchFamily="2" charset="2"/>
        <a:buChar char="§"/>
        <a:defRPr sz="14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38659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7318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15977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54637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693295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31954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70614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09273" algn="l" defTabSz="677318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16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371600" y="2571750"/>
            <a:ext cx="7772400" cy="1981200"/>
          </a:xfrm>
          <a:prstGeom prst="rect">
            <a:avLst/>
          </a:prstGeom>
          <a:solidFill>
            <a:schemeClr val="accent1">
              <a:alpha val="7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bg-BG" dirty="0" err="1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1600200" y="2876550"/>
            <a:ext cx="7467600" cy="1102519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677318" rtl="0" eaLnBrk="1" latinLnBrk="0" hangingPunct="1">
              <a:spcBef>
                <a:spcPct val="0"/>
              </a:spcBef>
              <a:buNone/>
              <a:defRPr sz="1800" b="1" kern="1200">
                <a:solidFill>
                  <a:schemeClr val="tx1"/>
                </a:solidFill>
                <a:latin typeface="Century Gothic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bg-BG" sz="2400" dirty="0"/>
              <a:t>Нов вид устройства за идентификация на потребители на „Райфайзен ОНЛАЙН – хардуерен и софтуерен токен</a:t>
            </a:r>
            <a:endParaRPr lang="bg-BG" sz="2200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  <p:pic>
        <p:nvPicPr>
          <p:cNvPr id="6" name="Picture 22" descr="Facebook_icon.png">
            <a:extLst>
              <a:ext uri="{FF2B5EF4-FFF2-40B4-BE49-F238E27FC236}">
                <a16:creationId xmlns:a16="http://schemas.microsoft.com/office/drawing/2014/main" id="{62B1F4EC-7C8A-4C9F-BF6E-739A48534E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0" r="98889">
                        <a14:backgroundMark x1="71111" y1="61250" x2="71111" y2="61250"/>
                        <a14:backgroundMark x1="71481" y1="82500" x2="71481" y2="82500"/>
                        <a14:backgroundMark x1="79630" y1="70000" x2="79630" y2="70000"/>
                        <a14:backgroundMark x1="90370" y1="61250" x2="65185" y2="75000"/>
                        <a14:backgroundMark x1="90000" y1="73750" x2="64815" y2="53750"/>
                        <a14:backgroundMark x1="84815" y1="60000" x2="91111" y2="60000"/>
                        <a14:backgroundMark x1="71111" y1="57500" x2="86667" y2="53750"/>
                        <a14:backgroundMark x1="91481" y1="66250" x2="87407" y2="52500"/>
                        <a14:backgroundMark x1="72222" y1="53750" x2="79630" y2="53750"/>
                        <a14:backgroundMark x1="67037" y1="53750" x2="77037" y2="56250"/>
                      </a14:backgroundRemoval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7696200" y="285750"/>
            <a:ext cx="1152128" cy="341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015847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:a16="http://schemas.microsoft.com/office/drawing/2014/main" id="{4CA70EBE-2337-4510-9D19-EB259C4308EE}"/>
              </a:ext>
            </a:extLst>
          </p:cNvPr>
          <p:cNvSpPr/>
          <p:nvPr/>
        </p:nvSpPr>
        <p:spPr>
          <a:xfrm>
            <a:off x="609598" y="514349"/>
            <a:ext cx="2430765" cy="12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3350"/>
            <a:ext cx="5283199" cy="594001"/>
          </a:xfrm>
        </p:spPr>
        <p:txBody>
          <a:bodyPr/>
          <a:lstStyle/>
          <a:p>
            <a:r>
              <a:rPr lang="bg-BG" sz="2400" dirty="0"/>
              <a:t>Нов вид </a:t>
            </a:r>
            <a:r>
              <a:rPr lang="bg-BG" sz="2400" dirty="0" err="1"/>
              <a:t>токени</a:t>
            </a:r>
            <a:endParaRPr lang="de-AT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34308783-C9BE-4074-B1C4-95F37B4A8777}"/>
              </a:ext>
            </a:extLst>
          </p:cNvPr>
          <p:cNvSpPr txBox="1">
            <a:spLocks/>
          </p:cNvSpPr>
          <p:nvPr/>
        </p:nvSpPr>
        <p:spPr>
          <a:xfrm>
            <a:off x="285721" y="819150"/>
            <a:ext cx="8638503" cy="40183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677318" rtl="0" eaLnBrk="1" latinLnBrk="0" hangingPunct="1">
              <a:spcBef>
                <a:spcPts val="1334"/>
              </a:spcBef>
              <a:buFont typeface="Arial" pitchFamily="34" charset="0"/>
              <a:buNone/>
              <a:defRPr sz="1500" b="1" kern="1200" baseline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0" indent="0" algn="l" defTabSz="677318" rtl="0" eaLnBrk="1" latinLnBrk="0" hangingPunct="1">
              <a:spcBef>
                <a:spcPts val="1334"/>
              </a:spcBef>
              <a:buFont typeface="Wingdings" pitchFamily="2" charset="2"/>
              <a:buNone/>
              <a:defRPr sz="15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31701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264578" indent="-13287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396278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529155" indent="-12699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6pPr>
            <a:lvl7pPr marL="663208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7pPr>
            <a:lvl8pPr marL="797260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8pPr>
            <a:lvl9pPr marL="931313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bg-BG" sz="1700" dirty="0"/>
              <a:t>Райфайзенбанк ще предлага на своите клиенти нов вид </a:t>
            </a:r>
            <a:r>
              <a:rPr lang="bg-BG" sz="1700" dirty="0" err="1"/>
              <a:t>токени</a:t>
            </a:r>
            <a:r>
              <a:rPr lang="bg-BG" sz="1700" dirty="0"/>
              <a:t>.</a:t>
            </a:r>
          </a:p>
          <a:p>
            <a:pPr>
              <a:spcBef>
                <a:spcPts val="0"/>
              </a:spcBef>
            </a:pPr>
            <a:r>
              <a:rPr lang="bg-BG" sz="1400" b="0" dirty="0"/>
              <a:t>Промените са наложени поради влизането в сила на Втората директива за платежните услуги (</a:t>
            </a:r>
            <a:r>
              <a:rPr lang="en-US" sz="1400" b="0" dirty="0"/>
              <a:t>PSD2)</a:t>
            </a:r>
            <a:r>
              <a:rPr lang="bg-BG" sz="1400" b="0" dirty="0"/>
              <a:t> 2015/2366</a:t>
            </a:r>
            <a:r>
              <a:rPr lang="en-US" sz="1400" b="0" dirty="0"/>
              <a:t>.</a:t>
            </a:r>
          </a:p>
          <a:p>
            <a:endParaRPr lang="bg-BG" sz="1300" dirty="0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BF15D24-C2A1-4E5C-A515-0F1DD964A250}"/>
              </a:ext>
            </a:extLst>
          </p:cNvPr>
          <p:cNvSpPr txBox="1"/>
          <p:nvPr/>
        </p:nvSpPr>
        <p:spPr>
          <a:xfrm>
            <a:off x="838200" y="3254573"/>
            <a:ext cx="28071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400" dirty="0"/>
              <a:t>Вариант 1 – </a:t>
            </a:r>
            <a:r>
              <a:rPr lang="en-US" sz="1400" dirty="0"/>
              <a:t>SMS </a:t>
            </a:r>
            <a:r>
              <a:rPr lang="bg-BG" sz="1400" dirty="0"/>
              <a:t>авторизация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1DBB91E-7516-4C2B-80C9-3D622D2090F0}"/>
              </a:ext>
            </a:extLst>
          </p:cNvPr>
          <p:cNvSpPr txBox="1"/>
          <p:nvPr/>
        </p:nvSpPr>
        <p:spPr>
          <a:xfrm>
            <a:off x="4724400" y="3240912"/>
            <a:ext cx="295625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400" dirty="0"/>
              <a:t>Вариант 2 – Райфайзен Токен </a:t>
            </a:r>
          </a:p>
        </p:txBody>
      </p:sp>
      <p:pic>
        <p:nvPicPr>
          <p:cNvPr id="22" name="Picture 1">
            <a:extLst>
              <a:ext uri="{FF2B5EF4-FFF2-40B4-BE49-F238E27FC236}">
                <a16:creationId xmlns:a16="http://schemas.microsoft.com/office/drawing/2014/main" id="{CBFB16FE-3B4B-43E4-9C92-5842964DED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1282" y="3574407"/>
            <a:ext cx="470245" cy="974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AE9E3CE1-FA5A-44B1-BDB2-A6974FDE02DA}"/>
              </a:ext>
            </a:extLst>
          </p:cNvPr>
          <p:cNvSpPr txBox="1"/>
          <p:nvPr/>
        </p:nvSpPr>
        <p:spPr>
          <a:xfrm>
            <a:off x="4366791" y="4548485"/>
            <a:ext cx="202379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bg-BG" sz="1000" dirty="0"/>
              <a:t>Хардуерен </a:t>
            </a:r>
            <a:r>
              <a:rPr lang="bg-BG" sz="1000" dirty="0" err="1"/>
              <a:t>токен</a:t>
            </a:r>
            <a:endParaRPr lang="en-US" sz="1000" dirty="0"/>
          </a:p>
          <a:p>
            <a:pPr algn="ctr"/>
            <a:r>
              <a:rPr lang="bg-BG" sz="1000" dirty="0"/>
              <a:t>Цена по тарифа на Банката за ЮЛ</a:t>
            </a:r>
            <a:r>
              <a:rPr lang="en-US" sz="1000" dirty="0"/>
              <a:t> </a:t>
            </a:r>
            <a:r>
              <a:rPr lang="bg-BG" sz="1000" dirty="0"/>
              <a:t>и Е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7329330-B029-428C-BC60-F515B5552FBB}"/>
              </a:ext>
            </a:extLst>
          </p:cNvPr>
          <p:cNvSpPr txBox="1"/>
          <p:nvPr/>
        </p:nvSpPr>
        <p:spPr>
          <a:xfrm>
            <a:off x="6390585" y="4606300"/>
            <a:ext cx="169629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bg-BG" sz="1000" dirty="0"/>
              <a:t>Софтуерен </a:t>
            </a:r>
            <a:r>
              <a:rPr lang="bg-BG" sz="1000" dirty="0" err="1"/>
              <a:t>токен</a:t>
            </a:r>
            <a:endParaRPr lang="bg-BG" sz="1000" dirty="0"/>
          </a:p>
          <a:p>
            <a:pPr algn="ctr"/>
            <a:r>
              <a:rPr lang="bg-BG" sz="1000" dirty="0"/>
              <a:t>Безплатно приложение</a:t>
            </a:r>
          </a:p>
        </p:txBody>
      </p:sp>
      <p:pic>
        <p:nvPicPr>
          <p:cNvPr id="25" name="Picture 2" descr="Image result for sms">
            <a:extLst>
              <a:ext uri="{FF2B5EF4-FFF2-40B4-BE49-F238E27FC236}">
                <a16:creationId xmlns:a16="http://schemas.microsoft.com/office/drawing/2014/main" id="{984BA532-8620-4242-9EAB-04B5993F2D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181" y="3632222"/>
            <a:ext cx="1176209" cy="974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F09B3FC-6935-4885-8A68-E2782F9D06A0}"/>
              </a:ext>
            </a:extLst>
          </p:cNvPr>
          <p:cNvSpPr/>
          <p:nvPr/>
        </p:nvSpPr>
        <p:spPr>
          <a:xfrm>
            <a:off x="304799" y="2031653"/>
            <a:ext cx="7947075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bg-BG" sz="1300" b="1" dirty="0"/>
              <a:t>От 1</a:t>
            </a:r>
            <a:r>
              <a:rPr lang="en-US" sz="1300" b="1" dirty="0"/>
              <a:t>3</a:t>
            </a:r>
            <a:r>
              <a:rPr lang="bg-BG" sz="1300" b="1" dirty="0"/>
              <a:t> септември 2019 старите </a:t>
            </a:r>
            <a:r>
              <a:rPr lang="bg-BG" sz="1300" b="1" dirty="0" err="1"/>
              <a:t>токени</a:t>
            </a:r>
            <a:r>
              <a:rPr lang="bg-BG" sz="1300" b="1" dirty="0"/>
              <a:t> няма да могат да бъдат използвани за потвърждения в Райфайзен ОНЛАЙН. Потребители със стари </a:t>
            </a:r>
            <a:r>
              <a:rPr lang="bg-BG" sz="1300" b="1" dirty="0" err="1"/>
              <a:t>токени</a:t>
            </a:r>
            <a:r>
              <a:rPr lang="bg-BG" sz="1300" b="1" dirty="0"/>
              <a:t> ще имат възможност да мигрират към един от следните варианти</a:t>
            </a:r>
            <a:r>
              <a:rPr lang="en-US" sz="1300" b="1" dirty="0"/>
              <a:t>:</a:t>
            </a:r>
            <a:endParaRPr lang="bg-BG" sz="1300" b="1" dirty="0"/>
          </a:p>
        </p:txBody>
      </p:sp>
      <p:pic>
        <p:nvPicPr>
          <p:cNvPr id="27" name="Picture 2" descr="Related image">
            <a:extLst>
              <a:ext uri="{FF2B5EF4-FFF2-40B4-BE49-F238E27FC236}">
                <a16:creationId xmlns:a16="http://schemas.microsoft.com/office/drawing/2014/main" id="{809992C0-D4B3-4FCA-AF3B-AFE1110D76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3499" y="1924348"/>
            <a:ext cx="1569101" cy="947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Image result for red cross drawn png">
            <a:extLst>
              <a:ext uri="{FF2B5EF4-FFF2-40B4-BE49-F238E27FC236}">
                <a16:creationId xmlns:a16="http://schemas.microsoft.com/office/drawing/2014/main" id="{05049A81-F5F2-42A4-BE67-E9ED02E8D3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3805" y="2186524"/>
            <a:ext cx="548488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2633B10B-9091-4B14-920A-A69BDB686301}"/>
              </a:ext>
            </a:extLst>
          </p:cNvPr>
          <p:cNvSpPr txBox="1"/>
          <p:nvPr/>
        </p:nvSpPr>
        <p:spPr>
          <a:xfrm>
            <a:off x="304800" y="2873573"/>
            <a:ext cx="478118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400" dirty="0">
                <a:highlight>
                  <a:srgbClr val="E4E4E4"/>
                </a:highlight>
              </a:rPr>
              <a:t>Допълнителни средства за сигурност – възможни варианти:</a:t>
            </a:r>
          </a:p>
        </p:txBody>
      </p:sp>
      <p:pic>
        <p:nvPicPr>
          <p:cNvPr id="17" name="Picture 2" descr="Related image">
            <a:extLst>
              <a:ext uri="{FF2B5EF4-FFF2-40B4-BE49-F238E27FC236}">
                <a16:creationId xmlns:a16="http://schemas.microsoft.com/office/drawing/2014/main" id="{4535393A-B4CA-432F-A4E2-AC999F0AE8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03" t="18000" r="24194" b="22156"/>
          <a:stretch/>
        </p:blipFill>
        <p:spPr bwMode="auto">
          <a:xfrm>
            <a:off x="6917348" y="3840673"/>
            <a:ext cx="626471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36680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3983BA4B-13A5-4894-8ACD-5BAD43C1F1CD}"/>
              </a:ext>
            </a:extLst>
          </p:cNvPr>
          <p:cNvSpPr/>
          <p:nvPr/>
        </p:nvSpPr>
        <p:spPr>
          <a:xfrm>
            <a:off x="609598" y="514350"/>
            <a:ext cx="3962402" cy="12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3350"/>
            <a:ext cx="4140199" cy="594001"/>
          </a:xfrm>
        </p:spPr>
        <p:txBody>
          <a:bodyPr/>
          <a:lstStyle/>
          <a:p>
            <a:r>
              <a:rPr lang="bg-BG" sz="2400" dirty="0"/>
              <a:t>Нов вид хардуерен </a:t>
            </a:r>
            <a:r>
              <a:rPr lang="bg-BG" sz="2400" dirty="0" err="1"/>
              <a:t>токен</a:t>
            </a:r>
            <a:endParaRPr lang="de-AT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28A347C1-4136-4FC9-B5B9-808619462935}"/>
              </a:ext>
            </a:extLst>
          </p:cNvPr>
          <p:cNvSpPr txBox="1">
            <a:spLocks/>
          </p:cNvSpPr>
          <p:nvPr/>
        </p:nvSpPr>
        <p:spPr>
          <a:xfrm>
            <a:off x="285721" y="857239"/>
            <a:ext cx="8401079" cy="7239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bg-BG" sz="17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Новият вид хардуерен </a:t>
            </a:r>
            <a:r>
              <a:rPr kumimoji="0" lang="bg-BG" sz="1700" b="0" i="0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токен</a:t>
            </a:r>
            <a:r>
              <a:rPr kumimoji="0" lang="bg-BG" sz="17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предоставя следните основни възможности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bg-BG" sz="17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42" name="Picture 2" descr="Image result for digipass 770">
            <a:extLst>
              <a:ext uri="{FF2B5EF4-FFF2-40B4-BE49-F238E27FC236}">
                <a16:creationId xmlns:a16="http://schemas.microsoft.com/office/drawing/2014/main" id="{44D92085-87E9-477E-863C-8065B8CED7C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65" r="30631"/>
          <a:stretch/>
        </p:blipFill>
        <p:spPr bwMode="auto">
          <a:xfrm>
            <a:off x="7498080" y="1352550"/>
            <a:ext cx="762000" cy="11680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">
            <a:extLst>
              <a:ext uri="{FF2B5EF4-FFF2-40B4-BE49-F238E27FC236}">
                <a16:creationId xmlns:a16="http://schemas.microsoft.com/office/drawing/2014/main" id="{9CEBC243-3065-4049-AD5B-CED436D41D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0832" y="2607564"/>
            <a:ext cx="496496" cy="103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5" descr="Image result for digipass 770">
            <a:extLst>
              <a:ext uri="{FF2B5EF4-FFF2-40B4-BE49-F238E27FC236}">
                <a16:creationId xmlns:a16="http://schemas.microsoft.com/office/drawing/2014/main" id="{A77665F9-4194-4441-80B2-D5840F9DCA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57" t="2777" r="13429"/>
          <a:stretch/>
        </p:blipFill>
        <p:spPr bwMode="auto">
          <a:xfrm>
            <a:off x="7653175" y="3790950"/>
            <a:ext cx="451811" cy="93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528EB7B5-0B97-4FB8-8123-D7BDF34727C8}"/>
              </a:ext>
            </a:extLst>
          </p:cNvPr>
          <p:cNvSpPr txBox="1">
            <a:spLocks/>
          </p:cNvSpPr>
          <p:nvPr/>
        </p:nvSpPr>
        <p:spPr>
          <a:xfrm>
            <a:off x="285721" y="1123950"/>
            <a:ext cx="7181879" cy="37719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bg-BG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Камера за сканиране на генерирани изображения от Райфайзен ОНЛАЙН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Екран за визуализация на данни от плащането, което очаква потвърждение (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BAN </a:t>
            </a: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на получателя, Сума и Валута)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Самостоятелна активация от потребителя през Райфайзен ОНЛАЙН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Самостоятелно изтриване на активация от потребителя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Избор на език (български и английски)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Възможност за смяна на батерии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Устройството може да </a:t>
            </a:r>
            <a:r>
              <a:rPr lang="bg-BG" sz="1400" dirty="0">
                <a:solidFill>
                  <a:prstClr val="black"/>
                </a:solidFill>
              </a:rPr>
              <a:t>бъде </a:t>
            </a:r>
            <a:r>
              <a:rPr kumimoji="0" lang="bg-BG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заку</a:t>
            </a:r>
            <a:r>
              <a:rPr lang="bg-BG" sz="1400" dirty="0">
                <a:solidFill>
                  <a:prstClr val="black"/>
                </a:solidFill>
              </a:rPr>
              <a:t>п</a:t>
            </a:r>
            <a:r>
              <a:rPr kumimoji="0" lang="bg-BG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ено</a:t>
            </a:r>
            <a:r>
              <a:rPr kumimoji="0" lang="bg-BG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от офис </a:t>
            </a:r>
            <a:r>
              <a:rPr lang="bg-BG" sz="1400" dirty="0">
                <a:solidFill>
                  <a:prstClr val="black"/>
                </a:solidFill>
              </a:rPr>
              <a:t>на Банката след </a:t>
            </a:r>
            <a:r>
              <a:rPr lang="en-US" sz="1400">
                <a:solidFill>
                  <a:prstClr val="black"/>
                </a:solidFill>
              </a:rPr>
              <a:t>02</a:t>
            </a:r>
            <a:r>
              <a:rPr lang="bg-BG" sz="1400">
                <a:solidFill>
                  <a:prstClr val="black"/>
                </a:solidFill>
              </a:rPr>
              <a:t>.09.2019</a:t>
            </a:r>
            <a:endParaRPr lang="en-US" sz="1400" dirty="0">
              <a:solidFill>
                <a:prstClr val="black"/>
              </a:solidFill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bg-BG" sz="1400" dirty="0">
                <a:solidFill>
                  <a:prstClr val="black"/>
                </a:solidFill>
              </a:rPr>
              <a:t>Един </a:t>
            </a:r>
            <a:r>
              <a:rPr lang="bg-BG" sz="1400" dirty="0" err="1">
                <a:solidFill>
                  <a:prstClr val="black"/>
                </a:solidFill>
              </a:rPr>
              <a:t>токен</a:t>
            </a:r>
            <a:r>
              <a:rPr lang="bg-BG" sz="1400" dirty="0">
                <a:solidFill>
                  <a:prstClr val="black"/>
                </a:solidFill>
              </a:rPr>
              <a:t> може да се ползва едновременно от 8 потребителя</a:t>
            </a:r>
            <a:endParaRPr kumimoji="0" lang="bg-BG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297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F068473-C77A-4818-A297-6D45F6A58BB5}"/>
              </a:ext>
            </a:extLst>
          </p:cNvPr>
          <p:cNvSpPr/>
          <p:nvPr/>
        </p:nvSpPr>
        <p:spPr>
          <a:xfrm>
            <a:off x="609598" y="514349"/>
            <a:ext cx="4267202" cy="1224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3350"/>
            <a:ext cx="4856957" cy="594001"/>
          </a:xfrm>
        </p:spPr>
        <p:txBody>
          <a:bodyPr/>
          <a:lstStyle/>
          <a:p>
            <a:r>
              <a:rPr lang="bg-BG" sz="2400" dirty="0"/>
              <a:t>Нов вид софтуерен </a:t>
            </a:r>
            <a:r>
              <a:rPr lang="bg-BG" sz="2400" dirty="0" err="1"/>
              <a:t>токен</a:t>
            </a:r>
            <a:endParaRPr lang="de-AT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4238BFF9-2BB0-4B0D-BD58-9B80FBE9C2B3}"/>
              </a:ext>
            </a:extLst>
          </p:cNvPr>
          <p:cNvSpPr txBox="1">
            <a:spLocks/>
          </p:cNvSpPr>
          <p:nvPr/>
        </p:nvSpPr>
        <p:spPr>
          <a:xfrm>
            <a:off x="285721" y="1590079"/>
            <a:ext cx="6953279" cy="2048471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bg-BG" sz="1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Безплатно приложение налично в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Google Play Store </a:t>
            </a:r>
            <a:r>
              <a:rPr kumimoji="0" lang="bg-BG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и </a:t>
            </a:r>
            <a:r>
              <a: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App Store;</a:t>
            </a:r>
            <a:endParaRPr kumimoji="0" lang="bg-BG" sz="1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Самостоятелна активация от потребителя през Райфайзен ОНЛАЙН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Самостоятелно изтриване на активация от потребителя;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Избор на език (български и английски);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bg-BG" sz="13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Възможност за потвърждение на плащания в два режима – Онлайн и Офлайн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bg-BG" sz="1300" dirty="0">
                <a:solidFill>
                  <a:sysClr val="windowText" lastClr="000000"/>
                </a:solidFill>
              </a:rPr>
              <a:t>Апликацията ще бъда налична за сваляне след 12.09.2019г.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bg-BG" sz="1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07E85E8-C658-4B36-AFF4-3513E751C90E}"/>
              </a:ext>
            </a:extLst>
          </p:cNvPr>
          <p:cNvSpPr/>
          <p:nvPr/>
        </p:nvSpPr>
        <p:spPr>
          <a:xfrm>
            <a:off x="285720" y="895350"/>
            <a:ext cx="832487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Новият вид софтуерен </a:t>
            </a:r>
            <a:r>
              <a:rPr kumimoji="0" lang="bg-BG" sz="17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токен</a:t>
            </a:r>
            <a:r>
              <a:rPr kumimoji="0" lang="bg-BG" sz="1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– мобилното приложение за </a:t>
            </a: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Android </a:t>
            </a:r>
            <a:r>
              <a:rPr kumimoji="0" lang="bg-BG" sz="1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и </a:t>
            </a: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OS “Raiffeisen Token”</a:t>
            </a:r>
            <a:r>
              <a:rPr kumimoji="0" lang="bg-BG" sz="1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има следните възможности:</a:t>
            </a:r>
          </a:p>
        </p:txBody>
      </p:sp>
      <p:pic>
        <p:nvPicPr>
          <p:cNvPr id="21506" name="Picture 2" descr="Related image">
            <a:extLst>
              <a:ext uri="{FF2B5EF4-FFF2-40B4-BE49-F238E27FC236}">
                <a16:creationId xmlns:a16="http://schemas.microsoft.com/office/drawing/2014/main" id="{B9603EFB-0EEA-4C6A-8AC8-CDEDD5B4CF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03" t="18000" r="24194" b="22156"/>
          <a:stretch/>
        </p:blipFill>
        <p:spPr bwMode="auto">
          <a:xfrm>
            <a:off x="7217478" y="1885950"/>
            <a:ext cx="1566178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0D4D034-7DD9-4D20-9174-FC805DA3C1DB}"/>
              </a:ext>
            </a:extLst>
          </p:cNvPr>
          <p:cNvSpPr txBox="1"/>
          <p:nvPr/>
        </p:nvSpPr>
        <p:spPr>
          <a:xfrm>
            <a:off x="306502" y="4069773"/>
            <a:ext cx="8608898" cy="483177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bg-BG" sz="1600" b="1" dirty="0">
                <a:latin typeface="Century Gothic" pitchFamily="34" charset="0"/>
              </a:rPr>
              <a:t>Един потребител може едновременно да ползва софтуерен и хардуерен </a:t>
            </a:r>
            <a:r>
              <a:rPr lang="bg-BG" sz="1600" b="1" dirty="0" err="1">
                <a:latin typeface="Century Gothic" pitchFamily="34" charset="0"/>
              </a:rPr>
              <a:t>токен</a:t>
            </a:r>
            <a:endParaRPr lang="bg-BG" sz="1600" b="1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78520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B676EE2-1431-4BB1-9547-B6D5B62DD1B7}"/>
              </a:ext>
            </a:extLst>
          </p:cNvPr>
          <p:cNvSpPr/>
          <p:nvPr/>
        </p:nvSpPr>
        <p:spPr>
          <a:xfrm>
            <a:off x="609598" y="514350"/>
            <a:ext cx="6934202" cy="122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3350"/>
            <a:ext cx="7111999" cy="594001"/>
          </a:xfrm>
        </p:spPr>
        <p:txBody>
          <a:bodyPr/>
          <a:lstStyle/>
          <a:p>
            <a:r>
              <a:rPr lang="bg-BG" sz="2400" dirty="0"/>
              <a:t>Софтуерен </a:t>
            </a:r>
            <a:r>
              <a:rPr lang="bg-BG" sz="2400" dirty="0" err="1"/>
              <a:t>токен</a:t>
            </a:r>
            <a:r>
              <a:rPr lang="bg-BG" sz="2400" dirty="0"/>
              <a:t> – режими на подписване</a:t>
            </a:r>
            <a:endParaRPr lang="de-AT" sz="21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3494722-69BF-4CD2-92F4-0059E102A34C}"/>
              </a:ext>
            </a:extLst>
          </p:cNvPr>
          <p:cNvSpPr txBox="1"/>
          <p:nvPr/>
        </p:nvSpPr>
        <p:spPr>
          <a:xfrm>
            <a:off x="6019800" y="1045464"/>
            <a:ext cx="133620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400" dirty="0">
                <a:solidFill>
                  <a:prstClr val="black"/>
                </a:solidFill>
                <a:highlight>
                  <a:srgbClr val="FFFF00"/>
                </a:highlight>
                <a:latin typeface="Calibri"/>
              </a:rPr>
              <a:t>Онлайн режим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7F9C0BE-5612-49C9-9E0A-AA92BF182BCE}"/>
              </a:ext>
            </a:extLst>
          </p:cNvPr>
          <p:cNvSpPr txBox="1"/>
          <p:nvPr/>
        </p:nvSpPr>
        <p:spPr>
          <a:xfrm>
            <a:off x="1676400" y="1045464"/>
            <a:ext cx="13488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bg-BG" sz="1400" dirty="0">
                <a:solidFill>
                  <a:prstClr val="black"/>
                </a:solidFill>
                <a:highlight>
                  <a:srgbClr val="FFFF00"/>
                </a:highlight>
                <a:latin typeface="Calibri"/>
              </a:rPr>
              <a:t>Офлайн режим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9E90D73-5B7A-4823-85CC-AFF524F89291}"/>
              </a:ext>
            </a:extLst>
          </p:cNvPr>
          <p:cNvSpPr txBox="1">
            <a:spLocks/>
          </p:cNvSpPr>
          <p:nvPr/>
        </p:nvSpPr>
        <p:spPr>
          <a:xfrm>
            <a:off x="219778" y="1350264"/>
            <a:ext cx="4164422" cy="25930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Процесът е идентичен на хардуерния </a:t>
            </a:r>
            <a:r>
              <a:rPr kumimoji="0" lang="bg-BG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токен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(не е необходима интернет връзка)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Нареждане на плащане през Райфайзен ОНЛАЙН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Райфайзен ОНЛАЙН генерира изображение; 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Потребителя стар</a:t>
            </a:r>
            <a:r>
              <a:rPr lang="bg-BG" sz="1000" dirty="0">
                <a:solidFill>
                  <a:prstClr val="black"/>
                </a:solidFill>
              </a:rPr>
              <a:t>т</a:t>
            </a:r>
            <a:r>
              <a:rPr kumimoji="0" lang="bg-BG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ира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приложението Райфайзен </a:t>
            </a:r>
            <a:r>
              <a:rPr kumimoji="0" lang="bg-BG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токен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на телефона си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Сканира с телефона си изображението от Райфайзен ОНЛАЙН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Въвежда ПИН кода за приложението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Райфайзен Токен визуализира данните на плащането (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BAN, 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сума и валута) и генерира 8-цифрен код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Потребителя въвежда кода в Райфайзен ОНЛАЙН и изпраща превода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440C982D-EA71-48DE-9583-1DCAC068E9AE}"/>
              </a:ext>
            </a:extLst>
          </p:cNvPr>
          <p:cNvSpPr txBox="1">
            <a:spLocks/>
          </p:cNvSpPr>
          <p:nvPr/>
        </p:nvSpPr>
        <p:spPr>
          <a:xfrm>
            <a:off x="4724400" y="1352550"/>
            <a:ext cx="3962400" cy="3352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За подписване в Онлайн режим е необходима интернет връзка мобилния телефон, на който е инсталирано приложението Райфайзен Токен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Нареждане на плащане през Райфайзен ОНЛАЙН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Райфайзен ОНЛАЙН изпраща нотификация на мобилния телефон, на който е инсталирано приложението Райфайзен Токен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Потребителя получава </a:t>
            </a:r>
            <a:r>
              <a:rPr kumimoji="0" lang="bg-BG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Пуш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нотификацията и я отваря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След въвеждане на ПИН кода за приложението – Райфайзен Токен визуализира данните на плащането (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IBAN, </a:t>
            </a: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сума и валута)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Чрез натискане на бутон „Потвърди“ потребителя потвърждава плащането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bg-BG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За да изпрати самото плащане, потребителя влиза в Райфайзен ОНЛАЙН и през меню Чакащи изпраща плащането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bg-BG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111317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C4EE39B-0FFA-4FD2-8E9A-22C855821914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1600200" y="2429779"/>
            <a:ext cx="5760720" cy="24358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68C85CD-87C2-4FE0-96C2-0007AF8474C2}"/>
              </a:ext>
            </a:extLst>
          </p:cNvPr>
          <p:cNvSpPr/>
          <p:nvPr/>
        </p:nvSpPr>
        <p:spPr>
          <a:xfrm>
            <a:off x="609598" y="514350"/>
            <a:ext cx="6934202" cy="122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48949"/>
            <a:ext cx="7111999" cy="594001"/>
          </a:xfrm>
        </p:spPr>
        <p:txBody>
          <a:bodyPr/>
          <a:lstStyle/>
          <a:p>
            <a:r>
              <a:rPr lang="bg-BG" sz="2100" dirty="0"/>
              <a:t>Миграция на потребители от стар към нов </a:t>
            </a:r>
            <a:r>
              <a:rPr lang="bg-BG" sz="2100" dirty="0" err="1"/>
              <a:t>токен</a:t>
            </a:r>
            <a:r>
              <a:rPr lang="bg-BG" sz="2100" dirty="0"/>
              <a:t> или </a:t>
            </a:r>
            <a:r>
              <a:rPr lang="en-US" sz="2100" dirty="0"/>
              <a:t>SMS </a:t>
            </a:r>
            <a:r>
              <a:rPr lang="bg-BG" sz="2100" dirty="0"/>
              <a:t>оторизация</a:t>
            </a:r>
            <a:endParaRPr lang="de-AT" sz="21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9691F9B-747C-4E2E-A827-91728B2EFAB6}"/>
              </a:ext>
            </a:extLst>
          </p:cNvPr>
          <p:cNvSpPr txBox="1">
            <a:spLocks/>
          </p:cNvSpPr>
          <p:nvPr/>
        </p:nvSpPr>
        <p:spPr>
          <a:xfrm>
            <a:off x="285721" y="857239"/>
            <a:ext cx="8638503" cy="1685925"/>
          </a:xfrm>
          <a:prstGeom prst="rect">
            <a:avLst/>
          </a:prstGeom>
        </p:spPr>
        <p:txBody>
          <a:bodyPr/>
          <a:lstStyle>
            <a:lvl1pPr marL="0" indent="0" algn="l" defTabSz="677318" rtl="0" eaLnBrk="1" latinLnBrk="0" hangingPunct="1">
              <a:spcBef>
                <a:spcPts val="1334"/>
              </a:spcBef>
              <a:buFont typeface="Arial" pitchFamily="34" charset="0"/>
              <a:buNone/>
              <a:defRPr sz="1500" b="1" kern="1200" baseline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0" indent="0" algn="l" defTabSz="677318" rtl="0" eaLnBrk="1" latinLnBrk="0" hangingPunct="1">
              <a:spcBef>
                <a:spcPts val="1334"/>
              </a:spcBef>
              <a:buFont typeface="Wingdings" pitchFamily="2" charset="2"/>
              <a:buNone/>
              <a:defRPr sz="15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31701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264578" indent="-13287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396278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529155" indent="-12699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6pPr>
            <a:lvl7pPr marL="663208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7pPr>
            <a:lvl8pPr marL="797260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8pPr>
            <a:lvl9pPr marL="931313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9pPr>
          </a:lstStyle>
          <a:p>
            <a:r>
              <a:rPr lang="bg-BG" sz="1450" b="0" dirty="0"/>
              <a:t>Предоставили сме възможност за клиентите текущо използващи СТАР </a:t>
            </a:r>
            <a:r>
              <a:rPr lang="bg-BG" sz="1450" b="0" dirty="0" err="1"/>
              <a:t>токен</a:t>
            </a:r>
            <a:r>
              <a:rPr lang="bg-BG" sz="1450" b="0" dirty="0"/>
              <a:t> да мигрират дистанционно през Райфайзен </a:t>
            </a:r>
            <a:r>
              <a:rPr lang="bg-BG" sz="1450" b="0"/>
              <a:t>ОНЛАЙН от </a:t>
            </a:r>
            <a:r>
              <a:rPr lang="bg-BG" sz="1450" b="0" dirty="0"/>
              <a:t>1</a:t>
            </a:r>
            <a:r>
              <a:rPr lang="en-US" sz="1450" b="0" dirty="0"/>
              <a:t>3</a:t>
            </a:r>
            <a:r>
              <a:rPr lang="bg-BG" sz="1450" b="0" dirty="0"/>
              <a:t>.09.2019 г. към:</a:t>
            </a:r>
          </a:p>
          <a:p>
            <a:pPr>
              <a:buFont typeface="Arial" pitchFamily="34" charset="0"/>
              <a:buAutoNum type="arabicParenR"/>
            </a:pPr>
            <a:r>
              <a:rPr lang="bg-BG" sz="1450" b="0" dirty="0"/>
              <a:t>Новите Райфайзен </a:t>
            </a:r>
            <a:r>
              <a:rPr lang="bg-BG" sz="1450" b="0" dirty="0" err="1"/>
              <a:t>токени</a:t>
            </a:r>
            <a:r>
              <a:rPr lang="bg-BG" sz="1450" b="0" dirty="0"/>
              <a:t> (в случай на миграция към хардуерен </a:t>
            </a:r>
            <a:r>
              <a:rPr lang="bg-BG" sz="1450" b="0" dirty="0" err="1"/>
              <a:t>токен</a:t>
            </a:r>
            <a:r>
              <a:rPr lang="bg-BG" sz="1450" b="0" dirty="0"/>
              <a:t>, трябва да се посети офис за закупуване на </a:t>
            </a:r>
            <a:r>
              <a:rPr lang="bg-BG" sz="1450" b="0" dirty="0" err="1"/>
              <a:t>токен</a:t>
            </a:r>
            <a:r>
              <a:rPr lang="bg-BG" sz="1450" b="0" dirty="0"/>
              <a:t>);</a:t>
            </a:r>
          </a:p>
          <a:p>
            <a:pPr>
              <a:buFont typeface="Arial" pitchFamily="34" charset="0"/>
              <a:buAutoNum type="arabicParenR"/>
            </a:pPr>
            <a:r>
              <a:rPr lang="bg-BG" sz="1450" b="0" dirty="0"/>
              <a:t>Потвърждение чрез СМС авторизация;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533CEC3-8FE1-45C3-97B3-9B8010FF1A95}"/>
              </a:ext>
            </a:extLst>
          </p:cNvPr>
          <p:cNvSpPr/>
          <p:nvPr/>
        </p:nvSpPr>
        <p:spPr>
          <a:xfrm>
            <a:off x="6172200" y="3076720"/>
            <a:ext cx="1143000" cy="40943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74A29FD-D4B7-450E-B334-9B01D7092C61}"/>
              </a:ext>
            </a:extLst>
          </p:cNvPr>
          <p:cNvSpPr/>
          <p:nvPr/>
        </p:nvSpPr>
        <p:spPr>
          <a:xfrm>
            <a:off x="1676400" y="4115704"/>
            <a:ext cx="1524000" cy="74993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bg-BG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91D882C-AE5C-4631-847C-22F5AA2C4E83}"/>
              </a:ext>
            </a:extLst>
          </p:cNvPr>
          <p:cNvSpPr/>
          <p:nvPr/>
        </p:nvSpPr>
        <p:spPr>
          <a:xfrm>
            <a:off x="1752600" y="3714750"/>
            <a:ext cx="883920" cy="228600"/>
          </a:xfrm>
          <a:prstGeom prst="rect">
            <a:avLst/>
          </a:prstGeom>
          <a:solidFill>
            <a:srgbClr val="DFE3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bg-BG" dirty="0" err="1">
              <a:solidFill>
                <a:schemeClr val="tx1"/>
              </a:solidFill>
              <a:latin typeface="Century Gothic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D0862F4-770A-4C3C-9752-C0A3B53F4612}"/>
              </a:ext>
            </a:extLst>
          </p:cNvPr>
          <p:cNvSpPr txBox="1"/>
          <p:nvPr/>
        </p:nvSpPr>
        <p:spPr>
          <a:xfrm>
            <a:off x="1763652" y="3638550"/>
            <a:ext cx="827148" cy="3048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bg-BG" sz="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itchFamily="34" charset="0"/>
              </a:rPr>
              <a:t>Токен</a:t>
            </a:r>
          </a:p>
        </p:txBody>
      </p:sp>
    </p:spTree>
    <p:extLst>
      <p:ext uri="{BB962C8B-B14F-4D97-AF65-F5344CB8AC3E}">
        <p14:creationId xmlns:p14="http://schemas.microsoft.com/office/powerpoint/2010/main" val="19664754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68C85CD-87C2-4FE0-96C2-0007AF8474C2}"/>
              </a:ext>
            </a:extLst>
          </p:cNvPr>
          <p:cNvSpPr/>
          <p:nvPr/>
        </p:nvSpPr>
        <p:spPr>
          <a:xfrm>
            <a:off x="609598" y="514350"/>
            <a:ext cx="6934202" cy="1222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83"/>
            <a:endParaRPr lang="de-AT" sz="1400" dirty="0" err="1">
              <a:solidFill>
                <a:prstClr val="black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D555CA-2F69-4807-B6E6-198648FE26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48949"/>
            <a:ext cx="7111999" cy="594001"/>
          </a:xfrm>
        </p:spPr>
        <p:txBody>
          <a:bodyPr/>
          <a:lstStyle/>
          <a:p>
            <a:r>
              <a:rPr lang="bg-BG" sz="2100" dirty="0"/>
              <a:t>Миграция на потребители от стар към нов </a:t>
            </a:r>
            <a:r>
              <a:rPr lang="bg-BG" sz="2100" dirty="0" err="1"/>
              <a:t>токен</a:t>
            </a:r>
            <a:r>
              <a:rPr lang="bg-BG" sz="2100"/>
              <a:t> или </a:t>
            </a:r>
            <a:r>
              <a:rPr lang="en-US" sz="2100" dirty="0"/>
              <a:t>SMS </a:t>
            </a:r>
            <a:r>
              <a:rPr lang="bg-BG" sz="2100" dirty="0"/>
              <a:t>оторизация</a:t>
            </a:r>
            <a:endParaRPr lang="de-AT" sz="21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defTabSz="677318"/>
            <a:fld id="{2EFE9AD8-4CF8-4A0A-8D8A-B8E100449A7A}" type="slidenum">
              <a:rPr lang="en-GB" smtClean="0">
                <a:solidFill>
                  <a:prstClr val="black"/>
                </a:solidFill>
              </a:rPr>
              <a:pPr defTabSz="677318"/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F9691F9B-747C-4E2E-A827-91728B2EFAB6}"/>
              </a:ext>
            </a:extLst>
          </p:cNvPr>
          <p:cNvSpPr txBox="1">
            <a:spLocks/>
          </p:cNvSpPr>
          <p:nvPr/>
        </p:nvSpPr>
        <p:spPr>
          <a:xfrm>
            <a:off x="285721" y="857239"/>
            <a:ext cx="8643969" cy="3390911"/>
          </a:xfrm>
          <a:prstGeom prst="rect">
            <a:avLst/>
          </a:prstGeom>
        </p:spPr>
        <p:txBody>
          <a:bodyPr/>
          <a:lstStyle>
            <a:lvl1pPr marL="0" indent="0" algn="l" defTabSz="677318" rtl="0" eaLnBrk="1" latinLnBrk="0" hangingPunct="1">
              <a:spcBef>
                <a:spcPts val="1334"/>
              </a:spcBef>
              <a:buFont typeface="Arial" pitchFamily="34" charset="0"/>
              <a:buNone/>
              <a:defRPr sz="1500" b="1" kern="1200" baseline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0" indent="0" algn="l" defTabSz="677318" rtl="0" eaLnBrk="1" latinLnBrk="0" hangingPunct="1">
              <a:spcBef>
                <a:spcPts val="1334"/>
              </a:spcBef>
              <a:buFont typeface="Wingdings" pitchFamily="2" charset="2"/>
              <a:buNone/>
              <a:defRPr sz="15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131701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264578" indent="-13287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396278" indent="-131701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5pPr>
            <a:lvl6pPr marL="529155" indent="-126998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6pPr>
            <a:lvl7pPr marL="663208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7pPr>
            <a:lvl8pPr marL="797260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8pPr>
            <a:lvl9pPr marL="931313" indent="-134053" algn="l" defTabSz="677318" rtl="0" eaLnBrk="1" latinLnBrk="0" hangingPunct="1">
              <a:spcBef>
                <a:spcPts val="1334"/>
              </a:spcBef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9pPr>
          </a:lstStyle>
          <a:p>
            <a:r>
              <a:rPr lang="bg-BG" b="0" dirty="0"/>
              <a:t>За да мигрират към някоя от двете алтернативи, потребителите отново трябва да </a:t>
            </a:r>
            <a:r>
              <a:rPr lang="bg-BG" b="0" dirty="0" err="1"/>
              <a:t>достъпят</a:t>
            </a:r>
            <a:r>
              <a:rPr lang="bg-BG" b="0" dirty="0"/>
              <a:t> Райфайзен ОНЛАЙН, профил на потребителя, меню „Средства за сигурност“:</a:t>
            </a:r>
          </a:p>
          <a:p>
            <a:r>
              <a:rPr lang="bg-BG" b="0" dirty="0"/>
              <a:t>1/ Избор между „Активирай Райфайзен Токен“ и „Активирай СМС нотификация“</a:t>
            </a:r>
          </a:p>
          <a:p>
            <a:r>
              <a:rPr lang="bg-BG" b="0" dirty="0"/>
              <a:t>2/ Авторизиране посредством стар хардуерен </a:t>
            </a:r>
            <a:r>
              <a:rPr lang="bg-BG" b="0" dirty="0" err="1"/>
              <a:t>токен</a:t>
            </a:r>
            <a:r>
              <a:rPr lang="bg-BG" b="0" dirty="0"/>
              <a:t> – Райфайзен ОНЛАЙН визуализира код „Запитване“, който потребителя въвежда в </a:t>
            </a:r>
            <a:r>
              <a:rPr lang="bg-BG" b="0" dirty="0" err="1"/>
              <a:t>токена</a:t>
            </a:r>
            <a:r>
              <a:rPr lang="bg-BG" b="0" dirty="0"/>
              <a:t>;</a:t>
            </a:r>
          </a:p>
          <a:p>
            <a:r>
              <a:rPr lang="bg-BG" b="0" dirty="0"/>
              <a:t>3/ Токенът генерира код „Отговор“, който потребителя въвежда в Райфайзен ОНЛАЙН;</a:t>
            </a:r>
          </a:p>
          <a:p>
            <a:r>
              <a:rPr lang="bg-BG" b="0" dirty="0"/>
              <a:t>4/ Потребителя задава мобилен телефон за изпращане на активационен код за </a:t>
            </a:r>
            <a:r>
              <a:rPr lang="bg-BG" b="0" dirty="0" err="1"/>
              <a:t>токен</a:t>
            </a:r>
            <a:r>
              <a:rPr lang="bg-BG" b="0" dirty="0"/>
              <a:t> на СМС или мобилен телефон за получаване на </a:t>
            </a:r>
            <a:r>
              <a:rPr lang="bg-BG" b="0" dirty="0" err="1"/>
              <a:t>авторизационни</a:t>
            </a:r>
            <a:r>
              <a:rPr lang="bg-BG" b="0" dirty="0"/>
              <a:t> кодове на  СМС;</a:t>
            </a:r>
          </a:p>
          <a:p>
            <a:r>
              <a:rPr lang="bg-BG" b="0" dirty="0"/>
              <a:t>5/ Потребителя минава през стандартната процедура за активация на </a:t>
            </a:r>
            <a:r>
              <a:rPr lang="bg-BG" b="0" dirty="0" err="1"/>
              <a:t>токен</a:t>
            </a:r>
            <a:r>
              <a:rPr lang="bg-BG" b="0" dirty="0"/>
              <a:t> чрез сканиране на изображения;  </a:t>
            </a:r>
          </a:p>
        </p:txBody>
      </p:sp>
    </p:spTree>
    <p:extLst>
      <p:ext uri="{BB962C8B-B14F-4D97-AF65-F5344CB8AC3E}">
        <p14:creationId xmlns:p14="http://schemas.microsoft.com/office/powerpoint/2010/main" val="19784417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ORPORATE_FOOTER"/>
  <p:tag name="LOGO_POSITION" val="FOOTER"/>
  <p:tag name="LOGO_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ETtq0oTPKGj93iTLMz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dzfiefQ6aTZC8ar1Fz3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9wJECESrK3Js59q760G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_YT5rKRlq5FnsOCZg60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c3EBu3RROONPKOPeRH9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CLIENTLOGOALL"/>
  <p:tag name="LOGO_LAYOUT_ID" val="9"/>
  <p:tag name="LOGO_LAYOUT_NAME" val="CONTENT SLIDES - NO SUB HEADING"/>
  <p:tag name="NEXTTO" val="CORPORATE_FOOTE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CpZ8aULTqShdgotG1Z2z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smzpWgS9eKXJ8pWexf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pkTClkQ2WDXqzQcKTM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muUY0LRR6HpoiZASpU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9kkaJDSSqQVLBnYzrpG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OGO" val="DIVID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lEJbK3RwySeJTKwIX0Z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QoD5yuQYmiIAOGUXmd_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_NDGizRheyHgvl1f.K7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m.FTXZRw2OPYg.HtpU9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8gmanPQ7eEBNsEAse78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5f4aF2iT96HHZp.6uhp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DVd1RGQzeJMMbZRQiuP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tent slides - no sub heading">
  <a:themeElements>
    <a:clrScheme name="Kantar TNS colours">
      <a:dk1>
        <a:srgbClr val="717171"/>
      </a:dk1>
      <a:lt1>
        <a:srgbClr val="FFFFFF"/>
      </a:lt1>
      <a:dk2>
        <a:srgbClr val="81C341"/>
      </a:dk2>
      <a:lt2>
        <a:srgbClr val="E5007E"/>
      </a:lt2>
      <a:accent1>
        <a:srgbClr val="C50017"/>
      </a:accent1>
      <a:accent2>
        <a:srgbClr val="F7911E"/>
      </a:accent2>
      <a:accent3>
        <a:srgbClr val="EF5205"/>
      </a:accent3>
      <a:accent4>
        <a:srgbClr val="7A2280"/>
      </a:accent4>
      <a:accent5>
        <a:srgbClr val="3EB1CC"/>
      </a:accent5>
      <a:accent6>
        <a:srgbClr val="4655A5"/>
      </a:accent6>
      <a:hlink>
        <a:srgbClr val="E5007E"/>
      </a:hlink>
      <a:folHlink>
        <a:srgbClr val="E5007E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ltGray">
        <a:solidFill>
          <a:schemeClr val="tx1"/>
        </a:solidFill>
        <a:ln w="1270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600" b="0" dirty="0" err="1" smtClean="0"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custClrLst>
    <a:custClr name="Dark Green">
      <a:srgbClr val="145D04"/>
    </a:custClr>
    <a:custClr name="Dark Red">
      <a:srgbClr val="990002"/>
    </a:custClr>
    <a:custClr name="Dark Purple">
      <a:srgbClr val="4C1D52"/>
    </a:custClr>
    <a:custClr name="Dark Blue">
      <a:srgbClr val="131C6B"/>
    </a:custClr>
    <a:custClr name="Grey 1">
      <a:srgbClr val="333333"/>
    </a:custClr>
    <a:custClr name="Grey 2">
      <a:srgbClr val="848484"/>
    </a:custClr>
    <a:custClr name="Grey 3">
      <a:srgbClr val="A8A8A8"/>
    </a:custClr>
    <a:custClr name="Grey 4">
      <a:srgbClr val="CBCBCB"/>
    </a:custClr>
    <a:custClr name="Grey 5">
      <a:srgbClr val="DEDEDE"/>
    </a:custClr>
  </a:custClrLst>
  <a:extLst>
    <a:ext uri="{05A4C25C-085E-4340-85A3-A5531E510DB2}">
      <thm15:themeFamily xmlns:thm15="http://schemas.microsoft.com/office/thememl/2012/main" name="Kantar TNS PowerPoint template 16x9 - for presentations and pitches.potx [Read-Only]" id="{FA6C4211-FECA-4925-8AD8-E0222C3134E2}" vid="{3415B487-4923-4D01-A39D-C1730CA3B765}"/>
    </a:ext>
  </a:extLst>
</a:theme>
</file>

<file path=ppt/theme/theme2.xml><?xml version="1.0" encoding="utf-8"?>
<a:theme xmlns:a="http://schemas.openxmlformats.org/drawingml/2006/main" name="Raiffeisen Bank">
  <a:themeElements>
    <a:clrScheme name="Raiffeisen Bank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3366FF"/>
      </a:hlink>
      <a:folHlink>
        <a:srgbClr val="3366FF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  <a:latin typeface="Century Gothic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solidFill>
            <a:schemeClr val="accent3"/>
          </a:solidFill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BBG_EN</Template>
  <TotalTime>95525</TotalTime>
  <Words>684</Words>
  <Application>Microsoft Office PowerPoint</Application>
  <PresentationFormat>On-screen Show (16:9)</PresentationFormat>
  <Paragraphs>7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4" baseType="lpstr">
      <vt:lpstr>Arial</vt:lpstr>
      <vt:lpstr>Calibri</vt:lpstr>
      <vt:lpstr>Century Gothic</vt:lpstr>
      <vt:lpstr>Wingdings</vt:lpstr>
      <vt:lpstr>Content slides - no sub heading</vt:lpstr>
      <vt:lpstr>Raiffeisen Bank</vt:lpstr>
      <vt:lpstr>think-cell Folie</vt:lpstr>
      <vt:lpstr>PowerPoint Presentation</vt:lpstr>
      <vt:lpstr>Нов вид токени</vt:lpstr>
      <vt:lpstr>Нов вид хардуерен токен</vt:lpstr>
      <vt:lpstr>Нов вид софтуерен токен</vt:lpstr>
      <vt:lpstr>Софтуерен токен – режими на подписване</vt:lpstr>
      <vt:lpstr>Миграция на потребители от стар към нов токен или SMS оторизация</vt:lpstr>
      <vt:lpstr>Миграция на потребители от стар към нов токен или SMS оторизац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ina Ivanova Georgieva</dc:creator>
  <cp:lastModifiedBy>Diana Georgieva Stoeva</cp:lastModifiedBy>
  <cp:revision>719</cp:revision>
  <cp:lastPrinted>2019-08-16T06:13:48Z</cp:lastPrinted>
  <dcterms:created xsi:type="dcterms:W3CDTF">2006-08-16T00:00:00Z</dcterms:created>
  <dcterms:modified xsi:type="dcterms:W3CDTF">2019-08-26T04:54:11Z</dcterms:modified>
</cp:coreProperties>
</file>